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3.xml" ContentType="application/vnd.openxmlformats-officedocument.presentationml.notesSlide+xml"/>
  <Override PartName="/ppt/tags/tag35.xml" ContentType="application/vnd.openxmlformats-officedocument.presentationml.tags+xml"/>
  <Override PartName="/ppt/notesSlides/notesSlide2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9.xml" ContentType="application/vnd.openxmlformats-officedocument.presentationml.notesSlide+xml"/>
  <Override PartName="/ppt/tags/tag46.xml" ContentType="application/vnd.openxmlformats-officedocument.presentationml.tags+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notesSlides/notesSlide3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3.xml" ContentType="application/vnd.openxmlformats-officedocument.presentationml.notesSlide+xml"/>
  <Override PartName="/ppt/tags/tag52.xml" ContentType="application/vnd.openxmlformats-officedocument.presentationml.tags+xml"/>
  <Override PartName="/ppt/notesSlides/notesSlide3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notesSlides/notesSlide37.xml" ContentType="application/vnd.openxmlformats-officedocument.presentationml.notesSlide+xml"/>
  <Override PartName="/ppt/tags/tag58.xml" ContentType="application/vnd.openxmlformats-officedocument.presentationml.tags+xml"/>
  <Override PartName="/ppt/notesSlides/notesSlide3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4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43.xml" ContentType="application/vnd.openxmlformats-officedocument.presentationml.notesSlide+xml"/>
  <Override PartName="/ppt/tags/tag69.xml" ContentType="application/vnd.openxmlformats-officedocument.presentationml.tags+xml"/>
  <Override PartName="/ppt/notesSlides/notesSlide4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4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4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9.xml" ContentType="application/vnd.openxmlformats-officedocument.presentationml.notesSlide+xml"/>
  <Override PartName="/ppt/tags/tag80.xml" ContentType="application/vnd.openxmlformats-officedocument.presentationml.tags+xml"/>
  <Override PartName="/ppt/notesSlides/notesSlide50.xml" ContentType="application/vnd.openxmlformats-officedocument.presentationml.notesSlide+xml"/>
  <Override PartName="/ppt/tags/tag81.xml" ContentType="application/vnd.openxmlformats-officedocument.presentationml.tags+xml"/>
  <Override PartName="/ppt/notesSlides/notesSlide51.xml" ContentType="application/vnd.openxmlformats-officedocument.presentationml.notesSlide+xml"/>
  <Override PartName="/ppt/tags/tag82.xml" ContentType="application/vnd.openxmlformats-officedocument.presentationml.tags+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7"/>
  </p:sldMasterIdLst>
  <p:notesMasterIdLst>
    <p:notesMasterId r:id="rId100"/>
  </p:notesMasterIdLst>
  <p:sldIdLst>
    <p:sldId id="2147469911" r:id="rId48"/>
    <p:sldId id="2076137353" r:id="rId49"/>
    <p:sldId id="2147469902" r:id="rId50"/>
    <p:sldId id="2145706662" r:id="rId51"/>
    <p:sldId id="261" r:id="rId52"/>
    <p:sldId id="263" r:id="rId53"/>
    <p:sldId id="271" r:id="rId54"/>
    <p:sldId id="272" r:id="rId55"/>
    <p:sldId id="275" r:id="rId56"/>
    <p:sldId id="276" r:id="rId57"/>
    <p:sldId id="2147469903" r:id="rId58"/>
    <p:sldId id="278" r:id="rId59"/>
    <p:sldId id="277" r:id="rId60"/>
    <p:sldId id="2076137319" r:id="rId61"/>
    <p:sldId id="2076137322" r:id="rId62"/>
    <p:sldId id="2076137323" r:id="rId63"/>
    <p:sldId id="2076137324" r:id="rId64"/>
    <p:sldId id="2076137325" r:id="rId65"/>
    <p:sldId id="2076137326" r:id="rId66"/>
    <p:sldId id="2076137327" r:id="rId67"/>
    <p:sldId id="2076137328" r:id="rId68"/>
    <p:sldId id="2147469904" r:id="rId69"/>
    <p:sldId id="2076137329" r:id="rId70"/>
    <p:sldId id="2076137330" r:id="rId71"/>
    <p:sldId id="2076137331" r:id="rId72"/>
    <p:sldId id="2076137332" r:id="rId73"/>
    <p:sldId id="2076137337" r:id="rId74"/>
    <p:sldId id="280" r:id="rId75"/>
    <p:sldId id="2076137333" r:id="rId76"/>
    <p:sldId id="2076137340" r:id="rId77"/>
    <p:sldId id="2147469905" r:id="rId78"/>
    <p:sldId id="2147469910" r:id="rId79"/>
    <p:sldId id="2147469912" r:id="rId80"/>
    <p:sldId id="2147469913" r:id="rId81"/>
    <p:sldId id="2147469914" r:id="rId82"/>
    <p:sldId id="2147469915" r:id="rId83"/>
    <p:sldId id="2147469924" r:id="rId84"/>
    <p:sldId id="2147469906" r:id="rId85"/>
    <p:sldId id="2076137339" r:id="rId86"/>
    <p:sldId id="2076137342" r:id="rId87"/>
    <p:sldId id="2076137345" r:id="rId88"/>
    <p:sldId id="2076137349" r:id="rId89"/>
    <p:sldId id="2076137351" r:id="rId90"/>
    <p:sldId id="2147469907" r:id="rId91"/>
    <p:sldId id="2076137343" r:id="rId92"/>
    <p:sldId id="2076137350" r:id="rId93"/>
    <p:sldId id="2076137348" r:id="rId94"/>
    <p:sldId id="2076137352" r:id="rId95"/>
    <p:sldId id="2076137347" r:id="rId96"/>
    <p:sldId id="2147469908" r:id="rId97"/>
    <p:sldId id="2147469909" r:id="rId98"/>
    <p:sldId id="269" r:id="rId99"/>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AF8AEE0-073E-411E-94E3-FF3FBE69EE92}">
          <p14:sldIdLst>
            <p14:sldId id="2147469911"/>
            <p14:sldId id="2076137353"/>
            <p14:sldId id="2147469902"/>
          </p14:sldIdLst>
        </p14:section>
        <p14:section name="Understand ALM" id="{21B80DC7-E389-4F2C-9A1D-EEF2BDC9A23B}">
          <p14:sldIdLst>
            <p14:sldId id="2145706662"/>
            <p14:sldId id="261"/>
            <p14:sldId id="263"/>
            <p14:sldId id="271"/>
            <p14:sldId id="272"/>
            <p14:sldId id="275"/>
            <p14:sldId id="276"/>
          </p14:sldIdLst>
        </p14:section>
        <p14:section name="Deploy using Packages" id="{A903DCED-A9F8-4506-834D-E860212332CB}">
          <p14:sldIdLst>
            <p14:sldId id="2147469903"/>
            <p14:sldId id="278"/>
            <p14:sldId id="277"/>
            <p14:sldId id="2076137319"/>
            <p14:sldId id="2076137322"/>
            <p14:sldId id="2076137323"/>
            <p14:sldId id="2076137324"/>
            <p14:sldId id="2076137325"/>
            <p14:sldId id="2076137326"/>
            <p14:sldId id="2076137327"/>
            <p14:sldId id="2076137328"/>
          </p14:sldIdLst>
        </p14:section>
        <p14:section name="Deploy using Solutions" id="{512DB44C-66B0-47F2-8F2B-25EDF6F548B4}">
          <p14:sldIdLst>
            <p14:sldId id="2147469904"/>
            <p14:sldId id="2076137329"/>
            <p14:sldId id="2076137330"/>
            <p14:sldId id="2076137331"/>
            <p14:sldId id="2076137332"/>
            <p14:sldId id="2076137337"/>
            <p14:sldId id="280"/>
            <p14:sldId id="2076137333"/>
            <p14:sldId id="2076137340"/>
            <p14:sldId id="2147469905"/>
          </p14:sldIdLst>
        </p14:section>
        <p14:section name="Power Platform Pipelines" id="{3120E3B1-3376-4160-96F8-BD127F08E40C}">
          <p14:sldIdLst>
            <p14:sldId id="2147469910"/>
            <p14:sldId id="2147469912"/>
            <p14:sldId id="2147469913"/>
            <p14:sldId id="2147469914"/>
            <p14:sldId id="2147469915"/>
            <p14:sldId id="2147469924"/>
          </p14:sldIdLst>
        </p14:section>
        <p14:section name="Azure DevOps" id="{CD79F673-6CE4-40DE-ADFD-48B141EECD60}">
          <p14:sldIdLst>
            <p14:sldId id="2147469906"/>
            <p14:sldId id="2076137339"/>
            <p14:sldId id="2076137342"/>
            <p14:sldId id="2076137345"/>
            <p14:sldId id="2076137349"/>
            <p14:sldId id="2076137351"/>
          </p14:sldIdLst>
        </p14:section>
        <p14:section name="Power Plat + Github" id="{9E17E3FE-7C51-4F7E-B96C-F6A28BCE3B1B}">
          <p14:sldIdLst>
            <p14:sldId id="2147469907"/>
            <p14:sldId id="2076137343"/>
            <p14:sldId id="2076137350"/>
            <p14:sldId id="2076137348"/>
            <p14:sldId id="2076137352"/>
            <p14:sldId id="2076137347"/>
            <p14:sldId id="2147469908"/>
            <p14:sldId id="2147469909"/>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B19B88-03A4-47F3-843E-E5AFCD3D7735}" v="755" dt="2023-05-04T21:40:30.092"/>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84121" autoAdjust="0"/>
  </p:normalViewPr>
  <p:slideViewPr>
    <p:cSldViewPr snapToGrid="0">
      <p:cViewPr varScale="1">
        <p:scale>
          <a:sx n="93" d="100"/>
          <a:sy n="93" d="100"/>
        </p:scale>
        <p:origin x="1272" y="78"/>
      </p:cViewPr>
      <p:guideLst/>
    </p:cSldViewPr>
  </p:slideViewPr>
  <p:outlineViewPr>
    <p:cViewPr>
      <p:scale>
        <a:sx n="33" d="100"/>
        <a:sy n="33" d="100"/>
      </p:scale>
      <p:origin x="0" y="-33744"/>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Master" Target="slideMasters/slideMaster1.xml"/><Relationship Id="rId63" Type="http://schemas.openxmlformats.org/officeDocument/2006/relationships/slide" Target="slides/slide16.xml"/><Relationship Id="rId68" Type="http://schemas.openxmlformats.org/officeDocument/2006/relationships/slide" Target="slides/slide21.xml"/><Relationship Id="rId84" Type="http://schemas.openxmlformats.org/officeDocument/2006/relationships/slide" Target="slides/slide37.xml"/><Relationship Id="rId89" Type="http://schemas.openxmlformats.org/officeDocument/2006/relationships/slide" Target="slides/slide42.xml"/><Relationship Id="rId16" Type="http://schemas.openxmlformats.org/officeDocument/2006/relationships/customXml" Target="../customXml/item16.xml"/><Relationship Id="rId107" Type="http://schemas.microsoft.com/office/2015/10/relationships/revisionInfo" Target="revisionInfo.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6.xml"/><Relationship Id="rId58" Type="http://schemas.openxmlformats.org/officeDocument/2006/relationships/slide" Target="slides/slide11.xml"/><Relationship Id="rId74" Type="http://schemas.openxmlformats.org/officeDocument/2006/relationships/slide" Target="slides/slide27.xml"/><Relationship Id="rId79" Type="http://schemas.openxmlformats.org/officeDocument/2006/relationships/slide" Target="slides/slide32.xml"/><Relationship Id="rId102" Type="http://schemas.openxmlformats.org/officeDocument/2006/relationships/presProps" Target="presProps.xml"/><Relationship Id="rId5" Type="http://schemas.openxmlformats.org/officeDocument/2006/relationships/customXml" Target="../customXml/item5.xml"/><Relationship Id="rId90" Type="http://schemas.openxmlformats.org/officeDocument/2006/relationships/slide" Target="slides/slide43.xml"/><Relationship Id="rId95" Type="http://schemas.openxmlformats.org/officeDocument/2006/relationships/slide" Target="slides/slide48.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slide" Target="slides/slide1.xml"/><Relationship Id="rId64" Type="http://schemas.openxmlformats.org/officeDocument/2006/relationships/slide" Target="slides/slide17.xml"/><Relationship Id="rId69" Type="http://schemas.openxmlformats.org/officeDocument/2006/relationships/slide" Target="slides/slide22.xml"/><Relationship Id="rId80" Type="http://schemas.openxmlformats.org/officeDocument/2006/relationships/slide" Target="slides/slide33.xml"/><Relationship Id="rId85" Type="http://schemas.openxmlformats.org/officeDocument/2006/relationships/slide" Target="slides/slide38.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12.xml"/><Relationship Id="rId103"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7.xml"/><Relationship Id="rId62" Type="http://schemas.openxmlformats.org/officeDocument/2006/relationships/slide" Target="slides/slide15.xml"/><Relationship Id="rId70" Type="http://schemas.openxmlformats.org/officeDocument/2006/relationships/slide" Target="slides/slide23.xml"/><Relationship Id="rId75" Type="http://schemas.openxmlformats.org/officeDocument/2006/relationships/slide" Target="slides/slide28.xml"/><Relationship Id="rId83" Type="http://schemas.openxmlformats.org/officeDocument/2006/relationships/slide" Target="slides/slide36.xml"/><Relationship Id="rId88" Type="http://schemas.openxmlformats.org/officeDocument/2006/relationships/slide" Target="slides/slide41.xml"/><Relationship Id="rId91" Type="http://schemas.openxmlformats.org/officeDocument/2006/relationships/slide" Target="slides/slide44.xml"/><Relationship Id="rId96"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2.xml"/><Relationship Id="rId57" Type="http://schemas.openxmlformats.org/officeDocument/2006/relationships/slide" Target="slides/slide10.xml"/><Relationship Id="rId106" Type="http://schemas.microsoft.com/office/2016/11/relationships/changesInfo" Target="changesInfos/changesInfo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5.xml"/><Relationship Id="rId60" Type="http://schemas.openxmlformats.org/officeDocument/2006/relationships/slide" Target="slides/slide13.xml"/><Relationship Id="rId65" Type="http://schemas.openxmlformats.org/officeDocument/2006/relationships/slide" Target="slides/slide18.xml"/><Relationship Id="rId73" Type="http://schemas.openxmlformats.org/officeDocument/2006/relationships/slide" Target="slides/slide26.xml"/><Relationship Id="rId78" Type="http://schemas.openxmlformats.org/officeDocument/2006/relationships/slide" Target="slides/slide31.xml"/><Relationship Id="rId81" Type="http://schemas.openxmlformats.org/officeDocument/2006/relationships/slide" Target="slides/slide34.xml"/><Relationship Id="rId86" Type="http://schemas.openxmlformats.org/officeDocument/2006/relationships/slide" Target="slides/slide39.xml"/><Relationship Id="rId94" Type="http://schemas.openxmlformats.org/officeDocument/2006/relationships/slide" Target="slides/slide47.xml"/><Relationship Id="rId99" Type="http://schemas.openxmlformats.org/officeDocument/2006/relationships/slide" Target="slides/slide52.xml"/><Relationship Id="rId10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3.xml"/><Relationship Id="rId55" Type="http://schemas.openxmlformats.org/officeDocument/2006/relationships/slide" Target="slides/slide8.xml"/><Relationship Id="rId76" Type="http://schemas.openxmlformats.org/officeDocument/2006/relationships/slide" Target="slides/slide29.xml"/><Relationship Id="rId97" Type="http://schemas.openxmlformats.org/officeDocument/2006/relationships/slide" Target="slides/slide50.xml"/><Relationship Id="rId104"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24.xml"/><Relationship Id="rId92" Type="http://schemas.openxmlformats.org/officeDocument/2006/relationships/slide" Target="slides/slide45.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19.xml"/><Relationship Id="rId87" Type="http://schemas.openxmlformats.org/officeDocument/2006/relationships/slide" Target="slides/slide40.xml"/><Relationship Id="rId61" Type="http://schemas.openxmlformats.org/officeDocument/2006/relationships/slide" Target="slides/slide14.xml"/><Relationship Id="rId82" Type="http://schemas.openxmlformats.org/officeDocument/2006/relationships/slide" Target="slides/slide35.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9.xml"/><Relationship Id="rId77" Type="http://schemas.openxmlformats.org/officeDocument/2006/relationships/slide" Target="slides/slide30.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4.xml"/><Relationship Id="rId72" Type="http://schemas.openxmlformats.org/officeDocument/2006/relationships/slide" Target="slides/slide25.xml"/><Relationship Id="rId93" Type="http://schemas.openxmlformats.org/officeDocument/2006/relationships/slide" Target="slides/slide46.xml"/><Relationship Id="rId98" Type="http://schemas.openxmlformats.org/officeDocument/2006/relationships/slide" Target="slides/slide5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2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Moris Montejo" userId="55e843e1-b95f-4cc0-a457-c4d5fafa72c5" providerId="ADAL" clId="{C7B19B88-03A4-47F3-843E-E5AFCD3D7735}"/>
    <pc:docChg chg="undo custSel addSld delSld modSld addSection modSection">
      <pc:chgData name="Moris Montejo" userId="55e843e1-b95f-4cc0-a457-c4d5fafa72c5" providerId="ADAL" clId="{C7B19B88-03A4-47F3-843E-E5AFCD3D7735}" dt="2023-05-05T04:45:29.642" v="3522" actId="20577"/>
      <pc:docMkLst>
        <pc:docMk/>
      </pc:docMkLst>
      <pc:sldChg chg="addSp delSp modSp del mod">
        <pc:chgData name="Moris Montejo" userId="55e843e1-b95f-4cc0-a457-c4d5fafa72c5" providerId="ADAL" clId="{C7B19B88-03A4-47F3-843E-E5AFCD3D7735}" dt="2023-05-04T14:08:03.503" v="697" actId="47"/>
        <pc:sldMkLst>
          <pc:docMk/>
          <pc:sldMk cId="2181956486" sldId="256"/>
        </pc:sldMkLst>
        <pc:spChg chg="add del mod">
          <ac:chgData name="Moris Montejo" userId="55e843e1-b95f-4cc0-a457-c4d5fafa72c5" providerId="ADAL" clId="{C7B19B88-03A4-47F3-843E-E5AFCD3D7735}" dt="2023-05-03T20:19:35.106" v="3"/>
          <ac:spMkLst>
            <pc:docMk/>
            <pc:sldMk cId="2181956486" sldId="256"/>
            <ac:spMk id="3" creationId="{4CDD0904-B6C7-53BB-96EF-79DACEC9729B}"/>
          </ac:spMkLst>
        </pc:spChg>
        <pc:picChg chg="del">
          <ac:chgData name="Moris Montejo" userId="55e843e1-b95f-4cc0-a457-c4d5fafa72c5" providerId="ADAL" clId="{C7B19B88-03A4-47F3-843E-E5AFCD3D7735}" dt="2023-05-03T20:19:31.424" v="2" actId="478"/>
          <ac:picMkLst>
            <pc:docMk/>
            <pc:sldMk cId="2181956486" sldId="256"/>
            <ac:picMk id="8" creationId="{DEBB7B6C-5800-4217-A7DA-4983C5C30F7A}"/>
          </ac:picMkLst>
        </pc:picChg>
        <pc:picChg chg="add mod">
          <ac:chgData name="Moris Montejo" userId="55e843e1-b95f-4cc0-a457-c4d5fafa72c5" providerId="ADAL" clId="{C7B19B88-03A4-47F3-843E-E5AFCD3D7735}" dt="2023-05-03T20:19:35.106" v="3"/>
          <ac:picMkLst>
            <pc:docMk/>
            <pc:sldMk cId="2181956486" sldId="256"/>
            <ac:picMk id="1026" creationId="{DAA70723-3C34-FED3-67D7-CB911DCCDC52}"/>
          </ac:picMkLst>
        </pc:picChg>
      </pc:sldChg>
      <pc:sldChg chg="del">
        <pc:chgData name="Moris Montejo" userId="55e843e1-b95f-4cc0-a457-c4d5fafa72c5" providerId="ADAL" clId="{C7B19B88-03A4-47F3-843E-E5AFCD3D7735}" dt="2023-05-03T20:18:54.732" v="1" actId="47"/>
        <pc:sldMkLst>
          <pc:docMk/>
          <pc:sldMk cId="2242852715" sldId="257"/>
        </pc:sldMkLst>
      </pc:sldChg>
      <pc:sldChg chg="del">
        <pc:chgData name="Moris Montejo" userId="55e843e1-b95f-4cc0-a457-c4d5fafa72c5" providerId="ADAL" clId="{C7B19B88-03A4-47F3-843E-E5AFCD3D7735}" dt="2023-05-03T20:23:54.550" v="155" actId="2696"/>
        <pc:sldMkLst>
          <pc:docMk/>
          <pc:sldMk cId="3001679096" sldId="258"/>
        </pc:sldMkLst>
      </pc:sldChg>
      <pc:sldChg chg="del">
        <pc:chgData name="Moris Montejo" userId="55e843e1-b95f-4cc0-a457-c4d5fafa72c5" providerId="ADAL" clId="{C7B19B88-03A4-47F3-843E-E5AFCD3D7735}" dt="2023-05-03T20:24:30.957" v="206" actId="47"/>
        <pc:sldMkLst>
          <pc:docMk/>
          <pc:sldMk cId="1635881331" sldId="259"/>
        </pc:sldMkLst>
      </pc:sldChg>
      <pc:sldChg chg="del">
        <pc:chgData name="Moris Montejo" userId="55e843e1-b95f-4cc0-a457-c4d5fafa72c5" providerId="ADAL" clId="{C7B19B88-03A4-47F3-843E-E5AFCD3D7735}" dt="2023-05-03T20:23:56.356" v="156" actId="2696"/>
        <pc:sldMkLst>
          <pc:docMk/>
          <pc:sldMk cId="1732864890" sldId="260"/>
        </pc:sldMkLst>
      </pc:sldChg>
      <pc:sldChg chg="addSp delSp modSp mod modAnim">
        <pc:chgData name="Moris Montejo" userId="55e843e1-b95f-4cc0-a457-c4d5fafa72c5" providerId="ADAL" clId="{C7B19B88-03A4-47F3-843E-E5AFCD3D7735}" dt="2023-05-03T20:30:11.559" v="215"/>
        <pc:sldMkLst>
          <pc:docMk/>
          <pc:sldMk cId="914707366" sldId="261"/>
        </pc:sldMkLst>
        <pc:spChg chg="mod">
          <ac:chgData name="Moris Montejo" userId="55e843e1-b95f-4cc0-a457-c4d5fafa72c5" providerId="ADAL" clId="{C7B19B88-03A4-47F3-843E-E5AFCD3D7735}" dt="2023-05-03T20:25:09.152" v="208" actId="207"/>
          <ac:spMkLst>
            <pc:docMk/>
            <pc:sldMk cId="914707366" sldId="261"/>
            <ac:spMk id="2" creationId="{00000000-0000-0000-0000-000000000000}"/>
          </ac:spMkLst>
        </pc:spChg>
        <pc:spChg chg="add mod">
          <ac:chgData name="Moris Montejo" userId="55e843e1-b95f-4cc0-a457-c4d5fafa72c5" providerId="ADAL" clId="{C7B19B88-03A4-47F3-843E-E5AFCD3D7735}" dt="2023-05-03T20:30:11.559" v="215"/>
          <ac:spMkLst>
            <pc:docMk/>
            <pc:sldMk cId="914707366" sldId="261"/>
            <ac:spMk id="4" creationId="{5B765ED7-60D4-78DD-3EC5-124D4643F5D0}"/>
          </ac:spMkLst>
        </pc:spChg>
        <pc:spChg chg="del">
          <ac:chgData name="Moris Montejo" userId="55e843e1-b95f-4cc0-a457-c4d5fafa72c5" providerId="ADAL" clId="{C7B19B88-03A4-47F3-843E-E5AFCD3D7735}" dt="2023-05-03T20:24:41.989" v="207" actId="478"/>
          <ac:spMkLst>
            <pc:docMk/>
            <pc:sldMk cId="914707366" sldId="261"/>
            <ac:spMk id="12" creationId="{C4226080-F4D3-473F-8324-DFB4ADA600CB}"/>
          </ac:spMkLst>
        </pc:spChg>
      </pc:sldChg>
      <pc:sldChg chg="addSp modSp modAnim">
        <pc:chgData name="Moris Montejo" userId="55e843e1-b95f-4cc0-a457-c4d5fafa72c5" providerId="ADAL" clId="{C7B19B88-03A4-47F3-843E-E5AFCD3D7735}" dt="2023-05-03T20:31:44.179" v="250" actId="207"/>
        <pc:sldMkLst>
          <pc:docMk/>
          <pc:sldMk cId="1385431110" sldId="263"/>
        </pc:sldMkLst>
        <pc:spChg chg="mod">
          <ac:chgData name="Moris Montejo" userId="55e843e1-b95f-4cc0-a457-c4d5fafa72c5" providerId="ADAL" clId="{C7B19B88-03A4-47F3-843E-E5AFCD3D7735}" dt="2023-05-03T20:31:44.179" v="250" actId="207"/>
          <ac:spMkLst>
            <pc:docMk/>
            <pc:sldMk cId="1385431110" sldId="263"/>
            <ac:spMk id="3" creationId="{00000000-0000-0000-0000-000000000000}"/>
          </ac:spMkLst>
        </pc:spChg>
        <pc:spChg chg="add mod">
          <ac:chgData name="Moris Montejo" userId="55e843e1-b95f-4cc0-a457-c4d5fafa72c5" providerId="ADAL" clId="{C7B19B88-03A4-47F3-843E-E5AFCD3D7735}" dt="2023-05-03T20:30:13.006" v="216"/>
          <ac:spMkLst>
            <pc:docMk/>
            <pc:sldMk cId="1385431110" sldId="263"/>
            <ac:spMk id="4" creationId="{C044BF47-A6FA-89FA-E7EC-D3DDC5DB20F6}"/>
          </ac:spMkLst>
        </pc:spChg>
      </pc:sldChg>
      <pc:sldChg chg="del">
        <pc:chgData name="Moris Montejo" userId="55e843e1-b95f-4cc0-a457-c4d5fafa72c5" providerId="ADAL" clId="{C7B19B88-03A4-47F3-843E-E5AFCD3D7735}" dt="2023-05-03T20:55:14.168" v="513" actId="47"/>
        <pc:sldMkLst>
          <pc:docMk/>
          <pc:sldMk cId="4145703054" sldId="265"/>
        </pc:sldMkLst>
      </pc:sldChg>
      <pc:sldChg chg="addSp modSp modAnim">
        <pc:chgData name="Moris Montejo" userId="55e843e1-b95f-4cc0-a457-c4d5fafa72c5" providerId="ADAL" clId="{C7B19B88-03A4-47F3-843E-E5AFCD3D7735}" dt="2023-05-03T20:31:53.911" v="251" actId="207"/>
        <pc:sldMkLst>
          <pc:docMk/>
          <pc:sldMk cId="219907589" sldId="271"/>
        </pc:sldMkLst>
        <pc:spChg chg="mod">
          <ac:chgData name="Moris Montejo" userId="55e843e1-b95f-4cc0-a457-c4d5fafa72c5" providerId="ADAL" clId="{C7B19B88-03A4-47F3-843E-E5AFCD3D7735}" dt="2023-05-03T20:31:53.911" v="251" actId="207"/>
          <ac:spMkLst>
            <pc:docMk/>
            <pc:sldMk cId="219907589" sldId="271"/>
            <ac:spMk id="3" creationId="{00000000-0000-0000-0000-000000000000}"/>
          </ac:spMkLst>
        </pc:spChg>
        <pc:spChg chg="add mod">
          <ac:chgData name="Moris Montejo" userId="55e843e1-b95f-4cc0-a457-c4d5fafa72c5" providerId="ADAL" clId="{C7B19B88-03A4-47F3-843E-E5AFCD3D7735}" dt="2023-05-03T20:30:14.292" v="217"/>
          <ac:spMkLst>
            <pc:docMk/>
            <pc:sldMk cId="219907589" sldId="271"/>
            <ac:spMk id="4" creationId="{46DF79AC-9CFE-6C67-1929-C834C289D66A}"/>
          </ac:spMkLst>
        </pc:spChg>
      </pc:sldChg>
      <pc:sldChg chg="addSp modSp mod modAnim">
        <pc:chgData name="Moris Montejo" userId="55e843e1-b95f-4cc0-a457-c4d5fafa72c5" providerId="ADAL" clId="{C7B19B88-03A4-47F3-843E-E5AFCD3D7735}" dt="2023-05-03T20:35:26.313" v="258"/>
        <pc:sldMkLst>
          <pc:docMk/>
          <pc:sldMk cId="3682129350" sldId="272"/>
        </pc:sldMkLst>
        <pc:spChg chg="mod">
          <ac:chgData name="Moris Montejo" userId="55e843e1-b95f-4cc0-a457-c4d5fafa72c5" providerId="ADAL" clId="{C7B19B88-03A4-47F3-843E-E5AFCD3D7735}" dt="2023-05-03T20:31:58.228" v="252" actId="207"/>
          <ac:spMkLst>
            <pc:docMk/>
            <pc:sldMk cId="3682129350" sldId="272"/>
            <ac:spMk id="3" creationId="{00000000-0000-0000-0000-000000000000}"/>
          </ac:spMkLst>
        </pc:spChg>
        <pc:spChg chg="add mod">
          <ac:chgData name="Moris Montejo" userId="55e843e1-b95f-4cc0-a457-c4d5fafa72c5" providerId="ADAL" clId="{C7B19B88-03A4-47F3-843E-E5AFCD3D7735}" dt="2023-05-03T20:30:16.653" v="218"/>
          <ac:spMkLst>
            <pc:docMk/>
            <pc:sldMk cId="3682129350" sldId="272"/>
            <ac:spMk id="4" creationId="{3032D345-FF03-F6EF-5597-57BDDB4854C8}"/>
          </ac:spMkLst>
        </pc:spChg>
      </pc:sldChg>
      <pc:sldChg chg="del">
        <pc:chgData name="Moris Montejo" userId="55e843e1-b95f-4cc0-a457-c4d5fafa72c5" providerId="ADAL" clId="{C7B19B88-03A4-47F3-843E-E5AFCD3D7735}" dt="2023-05-03T20:36:17.115" v="301" actId="47"/>
        <pc:sldMkLst>
          <pc:docMk/>
          <pc:sldMk cId="1055958203" sldId="273"/>
        </pc:sldMkLst>
      </pc:sldChg>
      <pc:sldChg chg="addSp modSp mod modAnim">
        <pc:chgData name="Moris Montejo" userId="55e843e1-b95f-4cc0-a457-c4d5fafa72c5" providerId="ADAL" clId="{C7B19B88-03A4-47F3-843E-E5AFCD3D7735}" dt="2023-05-03T20:35:40.740" v="262"/>
        <pc:sldMkLst>
          <pc:docMk/>
          <pc:sldMk cId="322230675" sldId="275"/>
        </pc:sldMkLst>
        <pc:spChg chg="mod">
          <ac:chgData name="Moris Montejo" userId="55e843e1-b95f-4cc0-a457-c4d5fafa72c5" providerId="ADAL" clId="{C7B19B88-03A4-47F3-843E-E5AFCD3D7735}" dt="2023-05-03T20:35:33.012" v="259" actId="207"/>
          <ac:spMkLst>
            <pc:docMk/>
            <pc:sldMk cId="322230675" sldId="275"/>
            <ac:spMk id="3" creationId="{00000000-0000-0000-0000-000000000000}"/>
          </ac:spMkLst>
        </pc:spChg>
        <pc:spChg chg="add mod">
          <ac:chgData name="Moris Montejo" userId="55e843e1-b95f-4cc0-a457-c4d5fafa72c5" providerId="ADAL" clId="{C7B19B88-03A4-47F3-843E-E5AFCD3D7735}" dt="2023-05-03T20:30:17.841" v="219"/>
          <ac:spMkLst>
            <pc:docMk/>
            <pc:sldMk cId="322230675" sldId="275"/>
            <ac:spMk id="4" creationId="{190A43E0-2165-D9AE-E28D-7D01261B5A7B}"/>
          </ac:spMkLst>
        </pc:spChg>
      </pc:sldChg>
      <pc:sldChg chg="addSp modSp mod">
        <pc:chgData name="Moris Montejo" userId="55e843e1-b95f-4cc0-a457-c4d5fafa72c5" providerId="ADAL" clId="{C7B19B88-03A4-47F3-843E-E5AFCD3D7735}" dt="2023-05-03T20:35:53.822" v="263" actId="207"/>
        <pc:sldMkLst>
          <pc:docMk/>
          <pc:sldMk cId="3215520065" sldId="276"/>
        </pc:sldMkLst>
        <pc:spChg chg="add mod">
          <ac:chgData name="Moris Montejo" userId="55e843e1-b95f-4cc0-a457-c4d5fafa72c5" providerId="ADAL" clId="{C7B19B88-03A4-47F3-843E-E5AFCD3D7735}" dt="2023-05-03T20:30:18.785" v="220"/>
          <ac:spMkLst>
            <pc:docMk/>
            <pc:sldMk cId="3215520065" sldId="276"/>
            <ac:spMk id="2" creationId="{2B8B1F8D-EA8D-B0C2-CA05-A4B141832F11}"/>
          </ac:spMkLst>
        </pc:spChg>
        <pc:spChg chg="mod">
          <ac:chgData name="Moris Montejo" userId="55e843e1-b95f-4cc0-a457-c4d5fafa72c5" providerId="ADAL" clId="{C7B19B88-03A4-47F3-843E-E5AFCD3D7735}" dt="2023-05-03T20:35:53.822" v="263" actId="207"/>
          <ac:spMkLst>
            <pc:docMk/>
            <pc:sldMk cId="3215520065" sldId="276"/>
            <ac:spMk id="3" creationId="{00000000-0000-0000-0000-000000000000}"/>
          </ac:spMkLst>
        </pc:spChg>
      </pc:sldChg>
      <pc:sldChg chg="addSp modSp mod">
        <pc:chgData name="Moris Montejo" userId="55e843e1-b95f-4cc0-a457-c4d5fafa72c5" providerId="ADAL" clId="{C7B19B88-03A4-47F3-843E-E5AFCD3D7735}" dt="2023-05-03T20:37:52.246" v="313" actId="207"/>
        <pc:sldMkLst>
          <pc:docMk/>
          <pc:sldMk cId="2008401404" sldId="277"/>
        </pc:sldMkLst>
        <pc:spChg chg="add mod">
          <ac:chgData name="Moris Montejo" userId="55e843e1-b95f-4cc0-a457-c4d5fafa72c5" providerId="ADAL" clId="{C7B19B88-03A4-47F3-843E-E5AFCD3D7735}" dt="2023-05-03T20:30:22.998" v="222"/>
          <ac:spMkLst>
            <pc:docMk/>
            <pc:sldMk cId="2008401404" sldId="277"/>
            <ac:spMk id="2" creationId="{D4DBE0F2-ACD5-EA15-2065-9FA269771C6D}"/>
          </ac:spMkLst>
        </pc:spChg>
        <pc:spChg chg="mod">
          <ac:chgData name="Moris Montejo" userId="55e843e1-b95f-4cc0-a457-c4d5fafa72c5" providerId="ADAL" clId="{C7B19B88-03A4-47F3-843E-E5AFCD3D7735}" dt="2023-05-03T20:37:52.246" v="313" actId="207"/>
          <ac:spMkLst>
            <pc:docMk/>
            <pc:sldMk cId="2008401404" sldId="277"/>
            <ac:spMk id="3" creationId="{00000000-0000-0000-0000-000000000000}"/>
          </ac:spMkLst>
        </pc:spChg>
      </pc:sldChg>
      <pc:sldChg chg="addSp modSp mod modAnim">
        <pc:chgData name="Moris Montejo" userId="55e843e1-b95f-4cc0-a457-c4d5fafa72c5" providerId="ADAL" clId="{C7B19B88-03A4-47F3-843E-E5AFCD3D7735}" dt="2023-05-03T20:37:46.216" v="312"/>
        <pc:sldMkLst>
          <pc:docMk/>
          <pc:sldMk cId="86217649" sldId="278"/>
        </pc:sldMkLst>
        <pc:spChg chg="mod">
          <ac:chgData name="Moris Montejo" userId="55e843e1-b95f-4cc0-a457-c4d5fafa72c5" providerId="ADAL" clId="{C7B19B88-03A4-47F3-843E-E5AFCD3D7735}" dt="2023-05-03T20:37:12.540" v="306" actId="207"/>
          <ac:spMkLst>
            <pc:docMk/>
            <pc:sldMk cId="86217649" sldId="278"/>
            <ac:spMk id="3" creationId="{00000000-0000-0000-0000-000000000000}"/>
          </ac:spMkLst>
        </pc:spChg>
        <pc:spChg chg="add mod">
          <ac:chgData name="Moris Montejo" userId="55e843e1-b95f-4cc0-a457-c4d5fafa72c5" providerId="ADAL" clId="{C7B19B88-03A4-47F3-843E-E5AFCD3D7735}" dt="2023-05-03T20:30:21.546" v="221"/>
          <ac:spMkLst>
            <pc:docMk/>
            <pc:sldMk cId="86217649" sldId="278"/>
            <ac:spMk id="4" creationId="{BAD98ACB-2C12-EC24-74ED-76F4CF9FC8F0}"/>
          </ac:spMkLst>
        </pc:spChg>
      </pc:sldChg>
      <pc:sldChg chg="modSp add mod modNotesTx">
        <pc:chgData name="Moris Montejo" userId="55e843e1-b95f-4cc0-a457-c4d5fafa72c5" providerId="ADAL" clId="{C7B19B88-03A4-47F3-843E-E5AFCD3D7735}" dt="2023-05-03T20:49:28.139" v="434" actId="20577"/>
        <pc:sldMkLst>
          <pc:docMk/>
          <pc:sldMk cId="984083080" sldId="280"/>
        </pc:sldMkLst>
        <pc:spChg chg="mod">
          <ac:chgData name="Moris Montejo" userId="55e843e1-b95f-4cc0-a457-c4d5fafa72c5" providerId="ADAL" clId="{C7B19B88-03A4-47F3-843E-E5AFCD3D7735}" dt="2023-05-03T20:45:00.698" v="367" actId="20577"/>
          <ac:spMkLst>
            <pc:docMk/>
            <pc:sldMk cId="984083080" sldId="280"/>
            <ac:spMk id="5" creationId="{3F83BB97-773A-4BFE-A8A1-A09521541F7F}"/>
          </ac:spMkLst>
        </pc:spChg>
        <pc:spChg chg="mod">
          <ac:chgData name="Moris Montejo" userId="55e843e1-b95f-4cc0-a457-c4d5fafa72c5" providerId="ADAL" clId="{C7B19B88-03A4-47F3-843E-E5AFCD3D7735}" dt="2023-05-03T20:49:28.139" v="434" actId="20577"/>
          <ac:spMkLst>
            <pc:docMk/>
            <pc:sldMk cId="984083080" sldId="280"/>
            <ac:spMk id="17" creationId="{ACB878CC-94A7-4ED0-A6E6-34F9BAEF01B0}"/>
          </ac:spMkLst>
        </pc:spChg>
      </pc:sldChg>
      <pc:sldChg chg="del">
        <pc:chgData name="Moris Montejo" userId="55e843e1-b95f-4cc0-a457-c4d5fafa72c5" providerId="ADAL" clId="{C7B19B88-03A4-47F3-843E-E5AFCD3D7735}" dt="2023-05-03T20:39:47.893" v="346" actId="47"/>
        <pc:sldMkLst>
          <pc:docMk/>
          <pc:sldMk cId="3366051102" sldId="280"/>
        </pc:sldMkLst>
      </pc:sldChg>
      <pc:sldChg chg="del">
        <pc:chgData name="Moris Montejo" userId="55e843e1-b95f-4cc0-a457-c4d5fafa72c5" providerId="ADAL" clId="{C7B19B88-03A4-47F3-843E-E5AFCD3D7735}" dt="2023-05-03T20:56:06.262" v="518" actId="47"/>
        <pc:sldMkLst>
          <pc:docMk/>
          <pc:sldMk cId="1552217223" sldId="321"/>
        </pc:sldMkLst>
      </pc:sldChg>
      <pc:sldChg chg="addSp delSp modSp mod">
        <pc:chgData name="Moris Montejo" userId="55e843e1-b95f-4cc0-a457-c4d5fafa72c5" providerId="ADAL" clId="{C7B19B88-03A4-47F3-843E-E5AFCD3D7735}" dt="2023-05-03T20:38:00.986" v="315" actId="478"/>
        <pc:sldMkLst>
          <pc:docMk/>
          <pc:sldMk cId="2157676589" sldId="2076137319"/>
        </pc:sldMkLst>
        <pc:spChg chg="mod">
          <ac:chgData name="Moris Montejo" userId="55e843e1-b95f-4cc0-a457-c4d5fafa72c5" providerId="ADAL" clId="{C7B19B88-03A4-47F3-843E-E5AFCD3D7735}" dt="2023-05-03T20:37:59.079" v="314" actId="207"/>
          <ac:spMkLst>
            <pc:docMk/>
            <pc:sldMk cId="2157676589" sldId="2076137319"/>
            <ac:spMk id="2" creationId="{00000000-0000-0000-0000-000000000000}"/>
          </ac:spMkLst>
        </pc:spChg>
        <pc:spChg chg="add mod">
          <ac:chgData name="Moris Montejo" userId="55e843e1-b95f-4cc0-a457-c4d5fafa72c5" providerId="ADAL" clId="{C7B19B88-03A4-47F3-843E-E5AFCD3D7735}" dt="2023-05-03T20:30:24.453" v="223"/>
          <ac:spMkLst>
            <pc:docMk/>
            <pc:sldMk cId="2157676589" sldId="2076137319"/>
            <ac:spMk id="3" creationId="{CB737E15-5E44-F5E2-ED9D-CBE04CE023B1}"/>
          </ac:spMkLst>
        </pc:spChg>
        <pc:spChg chg="del">
          <ac:chgData name="Moris Montejo" userId="55e843e1-b95f-4cc0-a457-c4d5fafa72c5" providerId="ADAL" clId="{C7B19B88-03A4-47F3-843E-E5AFCD3D7735}" dt="2023-05-03T20:38:00.986" v="315" actId="478"/>
          <ac:spMkLst>
            <pc:docMk/>
            <pc:sldMk cId="2157676589" sldId="2076137319"/>
            <ac:spMk id="4" creationId="{6480BE2B-4DCB-4AF3-8C5E-A31A6441982C}"/>
          </ac:spMkLst>
        </pc:spChg>
      </pc:sldChg>
      <pc:sldChg chg="addSp delSp modSp mod">
        <pc:chgData name="Moris Montejo" userId="55e843e1-b95f-4cc0-a457-c4d5fafa72c5" providerId="ADAL" clId="{C7B19B88-03A4-47F3-843E-E5AFCD3D7735}" dt="2023-05-03T20:38:10.701" v="317" actId="207"/>
        <pc:sldMkLst>
          <pc:docMk/>
          <pc:sldMk cId="491467484" sldId="2076137322"/>
        </pc:sldMkLst>
        <pc:spChg chg="mod">
          <ac:chgData name="Moris Montejo" userId="55e843e1-b95f-4cc0-a457-c4d5fafa72c5" providerId="ADAL" clId="{C7B19B88-03A4-47F3-843E-E5AFCD3D7735}" dt="2023-05-03T20:38:10.701" v="317" actId="207"/>
          <ac:spMkLst>
            <pc:docMk/>
            <pc:sldMk cId="491467484" sldId="2076137322"/>
            <ac:spMk id="2" creationId="{00000000-0000-0000-0000-000000000000}"/>
          </ac:spMkLst>
        </pc:spChg>
        <pc:spChg chg="add mod">
          <ac:chgData name="Moris Montejo" userId="55e843e1-b95f-4cc0-a457-c4d5fafa72c5" providerId="ADAL" clId="{C7B19B88-03A4-47F3-843E-E5AFCD3D7735}" dt="2023-05-03T20:30:25.695" v="224"/>
          <ac:spMkLst>
            <pc:docMk/>
            <pc:sldMk cId="491467484" sldId="2076137322"/>
            <ac:spMk id="3" creationId="{44615E93-226F-8D5D-B8A8-101379F40350}"/>
          </ac:spMkLst>
        </pc:spChg>
        <pc:spChg chg="del">
          <ac:chgData name="Moris Montejo" userId="55e843e1-b95f-4cc0-a457-c4d5fafa72c5" providerId="ADAL" clId="{C7B19B88-03A4-47F3-843E-E5AFCD3D7735}" dt="2023-05-03T20:38:08.377" v="316" actId="478"/>
          <ac:spMkLst>
            <pc:docMk/>
            <pc:sldMk cId="491467484" sldId="2076137322"/>
            <ac:spMk id="4" creationId="{6480BE2B-4DCB-4AF3-8C5E-A31A6441982C}"/>
          </ac:spMkLst>
        </pc:spChg>
      </pc:sldChg>
      <pc:sldChg chg="addSp delSp modSp mod">
        <pc:chgData name="Moris Montejo" userId="55e843e1-b95f-4cc0-a457-c4d5fafa72c5" providerId="ADAL" clId="{C7B19B88-03A4-47F3-843E-E5AFCD3D7735}" dt="2023-05-03T20:38:17.603" v="319" actId="478"/>
        <pc:sldMkLst>
          <pc:docMk/>
          <pc:sldMk cId="831461427" sldId="2076137323"/>
        </pc:sldMkLst>
        <pc:spChg chg="mod">
          <ac:chgData name="Moris Montejo" userId="55e843e1-b95f-4cc0-a457-c4d5fafa72c5" providerId="ADAL" clId="{C7B19B88-03A4-47F3-843E-E5AFCD3D7735}" dt="2023-05-03T20:38:14.311" v="318" actId="207"/>
          <ac:spMkLst>
            <pc:docMk/>
            <pc:sldMk cId="831461427" sldId="2076137323"/>
            <ac:spMk id="2" creationId="{00000000-0000-0000-0000-000000000000}"/>
          </ac:spMkLst>
        </pc:spChg>
        <pc:spChg chg="add mod">
          <ac:chgData name="Moris Montejo" userId="55e843e1-b95f-4cc0-a457-c4d5fafa72c5" providerId="ADAL" clId="{C7B19B88-03A4-47F3-843E-E5AFCD3D7735}" dt="2023-05-03T20:30:26.790" v="225"/>
          <ac:spMkLst>
            <pc:docMk/>
            <pc:sldMk cId="831461427" sldId="2076137323"/>
            <ac:spMk id="3" creationId="{F1B46C5C-4A6C-61ED-0275-90AA5DC1EC5C}"/>
          </ac:spMkLst>
        </pc:spChg>
        <pc:spChg chg="del">
          <ac:chgData name="Moris Montejo" userId="55e843e1-b95f-4cc0-a457-c4d5fafa72c5" providerId="ADAL" clId="{C7B19B88-03A4-47F3-843E-E5AFCD3D7735}" dt="2023-05-03T20:38:17.603" v="319" actId="478"/>
          <ac:spMkLst>
            <pc:docMk/>
            <pc:sldMk cId="831461427" sldId="2076137323"/>
            <ac:spMk id="4" creationId="{6480BE2B-4DCB-4AF3-8C5E-A31A6441982C}"/>
          </ac:spMkLst>
        </pc:spChg>
      </pc:sldChg>
      <pc:sldChg chg="addSp delSp modSp mod">
        <pc:chgData name="Moris Montejo" userId="55e843e1-b95f-4cc0-a457-c4d5fafa72c5" providerId="ADAL" clId="{C7B19B88-03A4-47F3-843E-E5AFCD3D7735}" dt="2023-05-03T20:38:26.514" v="321" actId="478"/>
        <pc:sldMkLst>
          <pc:docMk/>
          <pc:sldMk cId="1371000817" sldId="2076137324"/>
        </pc:sldMkLst>
        <pc:spChg chg="mod">
          <ac:chgData name="Moris Montejo" userId="55e843e1-b95f-4cc0-a457-c4d5fafa72c5" providerId="ADAL" clId="{C7B19B88-03A4-47F3-843E-E5AFCD3D7735}" dt="2023-05-03T20:38:23.024" v="320" actId="207"/>
          <ac:spMkLst>
            <pc:docMk/>
            <pc:sldMk cId="1371000817" sldId="2076137324"/>
            <ac:spMk id="2" creationId="{00000000-0000-0000-0000-000000000000}"/>
          </ac:spMkLst>
        </pc:spChg>
        <pc:spChg chg="add mod">
          <ac:chgData name="Moris Montejo" userId="55e843e1-b95f-4cc0-a457-c4d5fafa72c5" providerId="ADAL" clId="{C7B19B88-03A4-47F3-843E-E5AFCD3D7735}" dt="2023-05-03T20:30:27.891" v="226"/>
          <ac:spMkLst>
            <pc:docMk/>
            <pc:sldMk cId="1371000817" sldId="2076137324"/>
            <ac:spMk id="3" creationId="{9F16BC3D-E0FF-E57D-E8D0-46EADDACE66C}"/>
          </ac:spMkLst>
        </pc:spChg>
        <pc:spChg chg="del">
          <ac:chgData name="Moris Montejo" userId="55e843e1-b95f-4cc0-a457-c4d5fafa72c5" providerId="ADAL" clId="{C7B19B88-03A4-47F3-843E-E5AFCD3D7735}" dt="2023-05-03T20:38:26.514" v="321" actId="478"/>
          <ac:spMkLst>
            <pc:docMk/>
            <pc:sldMk cId="1371000817" sldId="2076137324"/>
            <ac:spMk id="4" creationId="{6480BE2B-4DCB-4AF3-8C5E-A31A6441982C}"/>
          </ac:spMkLst>
        </pc:spChg>
      </pc:sldChg>
      <pc:sldChg chg="addSp delSp modSp mod">
        <pc:chgData name="Moris Montejo" userId="55e843e1-b95f-4cc0-a457-c4d5fafa72c5" providerId="ADAL" clId="{C7B19B88-03A4-47F3-843E-E5AFCD3D7735}" dt="2023-05-03T20:38:32.548" v="323" actId="207"/>
        <pc:sldMkLst>
          <pc:docMk/>
          <pc:sldMk cId="1900331495" sldId="2076137325"/>
        </pc:sldMkLst>
        <pc:spChg chg="mod">
          <ac:chgData name="Moris Montejo" userId="55e843e1-b95f-4cc0-a457-c4d5fafa72c5" providerId="ADAL" clId="{C7B19B88-03A4-47F3-843E-E5AFCD3D7735}" dt="2023-05-03T20:38:32.548" v="323" actId="207"/>
          <ac:spMkLst>
            <pc:docMk/>
            <pc:sldMk cId="1900331495" sldId="2076137325"/>
            <ac:spMk id="2" creationId="{00000000-0000-0000-0000-000000000000}"/>
          </ac:spMkLst>
        </pc:spChg>
        <pc:spChg chg="add mod">
          <ac:chgData name="Moris Montejo" userId="55e843e1-b95f-4cc0-a457-c4d5fafa72c5" providerId="ADAL" clId="{C7B19B88-03A4-47F3-843E-E5AFCD3D7735}" dt="2023-05-03T20:30:29.576" v="227"/>
          <ac:spMkLst>
            <pc:docMk/>
            <pc:sldMk cId="1900331495" sldId="2076137325"/>
            <ac:spMk id="3" creationId="{502D7B45-4448-8FD3-9EA7-EF4F85034ECA}"/>
          </ac:spMkLst>
        </pc:spChg>
        <pc:spChg chg="del">
          <ac:chgData name="Moris Montejo" userId="55e843e1-b95f-4cc0-a457-c4d5fafa72c5" providerId="ADAL" clId="{C7B19B88-03A4-47F3-843E-E5AFCD3D7735}" dt="2023-05-03T20:38:30.143" v="322" actId="478"/>
          <ac:spMkLst>
            <pc:docMk/>
            <pc:sldMk cId="1900331495" sldId="2076137325"/>
            <ac:spMk id="4" creationId="{6480BE2B-4DCB-4AF3-8C5E-A31A6441982C}"/>
          </ac:spMkLst>
        </pc:spChg>
      </pc:sldChg>
      <pc:sldChg chg="addSp delSp modSp mod">
        <pc:chgData name="Moris Montejo" userId="55e843e1-b95f-4cc0-a457-c4d5fafa72c5" providerId="ADAL" clId="{C7B19B88-03A4-47F3-843E-E5AFCD3D7735}" dt="2023-05-03T20:38:41.919" v="325" actId="478"/>
        <pc:sldMkLst>
          <pc:docMk/>
          <pc:sldMk cId="1959265060" sldId="2076137326"/>
        </pc:sldMkLst>
        <pc:spChg chg="mod">
          <ac:chgData name="Moris Montejo" userId="55e843e1-b95f-4cc0-a457-c4d5fafa72c5" providerId="ADAL" clId="{C7B19B88-03A4-47F3-843E-E5AFCD3D7735}" dt="2023-05-03T20:38:40.060" v="324" actId="207"/>
          <ac:spMkLst>
            <pc:docMk/>
            <pc:sldMk cId="1959265060" sldId="2076137326"/>
            <ac:spMk id="2" creationId="{00000000-0000-0000-0000-000000000000}"/>
          </ac:spMkLst>
        </pc:spChg>
        <pc:spChg chg="add mod">
          <ac:chgData name="Moris Montejo" userId="55e843e1-b95f-4cc0-a457-c4d5fafa72c5" providerId="ADAL" clId="{C7B19B88-03A4-47F3-843E-E5AFCD3D7735}" dt="2023-05-03T20:30:30.643" v="228"/>
          <ac:spMkLst>
            <pc:docMk/>
            <pc:sldMk cId="1959265060" sldId="2076137326"/>
            <ac:spMk id="3" creationId="{EB4CC85D-636E-8F9F-FFAE-F05855E9E06F}"/>
          </ac:spMkLst>
        </pc:spChg>
        <pc:spChg chg="del">
          <ac:chgData name="Moris Montejo" userId="55e843e1-b95f-4cc0-a457-c4d5fafa72c5" providerId="ADAL" clId="{C7B19B88-03A4-47F3-843E-E5AFCD3D7735}" dt="2023-05-03T20:38:41.919" v="325" actId="478"/>
          <ac:spMkLst>
            <pc:docMk/>
            <pc:sldMk cId="1959265060" sldId="2076137326"/>
            <ac:spMk id="4" creationId="{6480BE2B-4DCB-4AF3-8C5E-A31A6441982C}"/>
          </ac:spMkLst>
        </pc:spChg>
      </pc:sldChg>
      <pc:sldChg chg="addSp delSp modSp mod">
        <pc:chgData name="Moris Montejo" userId="55e843e1-b95f-4cc0-a457-c4d5fafa72c5" providerId="ADAL" clId="{C7B19B88-03A4-47F3-843E-E5AFCD3D7735}" dt="2023-05-03T20:38:49.143" v="327" actId="478"/>
        <pc:sldMkLst>
          <pc:docMk/>
          <pc:sldMk cId="3256260429" sldId="2076137327"/>
        </pc:sldMkLst>
        <pc:spChg chg="mod">
          <ac:chgData name="Moris Montejo" userId="55e843e1-b95f-4cc0-a457-c4d5fafa72c5" providerId="ADAL" clId="{C7B19B88-03A4-47F3-843E-E5AFCD3D7735}" dt="2023-05-03T20:38:46.126" v="326" actId="207"/>
          <ac:spMkLst>
            <pc:docMk/>
            <pc:sldMk cId="3256260429" sldId="2076137327"/>
            <ac:spMk id="2" creationId="{00000000-0000-0000-0000-000000000000}"/>
          </ac:spMkLst>
        </pc:spChg>
        <pc:spChg chg="add mod">
          <ac:chgData name="Moris Montejo" userId="55e843e1-b95f-4cc0-a457-c4d5fafa72c5" providerId="ADAL" clId="{C7B19B88-03A4-47F3-843E-E5AFCD3D7735}" dt="2023-05-03T20:30:32.227" v="229"/>
          <ac:spMkLst>
            <pc:docMk/>
            <pc:sldMk cId="3256260429" sldId="2076137327"/>
            <ac:spMk id="3" creationId="{7947D968-23AA-469C-6392-F2D26C847304}"/>
          </ac:spMkLst>
        </pc:spChg>
        <pc:spChg chg="del">
          <ac:chgData name="Moris Montejo" userId="55e843e1-b95f-4cc0-a457-c4d5fafa72c5" providerId="ADAL" clId="{C7B19B88-03A4-47F3-843E-E5AFCD3D7735}" dt="2023-05-03T20:38:49.143" v="327" actId="478"/>
          <ac:spMkLst>
            <pc:docMk/>
            <pc:sldMk cId="3256260429" sldId="2076137327"/>
            <ac:spMk id="4" creationId="{6480BE2B-4DCB-4AF3-8C5E-A31A6441982C}"/>
          </ac:spMkLst>
        </pc:spChg>
      </pc:sldChg>
      <pc:sldChg chg="addSp delSp modSp mod">
        <pc:chgData name="Moris Montejo" userId="55e843e1-b95f-4cc0-a457-c4d5fafa72c5" providerId="ADAL" clId="{C7B19B88-03A4-47F3-843E-E5AFCD3D7735}" dt="2023-05-03T20:38:54.927" v="329" actId="478"/>
        <pc:sldMkLst>
          <pc:docMk/>
          <pc:sldMk cId="2020202631" sldId="2076137328"/>
        </pc:sldMkLst>
        <pc:spChg chg="mod">
          <ac:chgData name="Moris Montejo" userId="55e843e1-b95f-4cc0-a457-c4d5fafa72c5" providerId="ADAL" clId="{C7B19B88-03A4-47F3-843E-E5AFCD3D7735}" dt="2023-05-03T20:38:53.390" v="328" actId="207"/>
          <ac:spMkLst>
            <pc:docMk/>
            <pc:sldMk cId="2020202631" sldId="2076137328"/>
            <ac:spMk id="2" creationId="{00000000-0000-0000-0000-000000000000}"/>
          </ac:spMkLst>
        </pc:spChg>
        <pc:spChg chg="add mod">
          <ac:chgData name="Moris Montejo" userId="55e843e1-b95f-4cc0-a457-c4d5fafa72c5" providerId="ADAL" clId="{C7B19B88-03A4-47F3-843E-E5AFCD3D7735}" dt="2023-05-03T20:30:33.607" v="230"/>
          <ac:spMkLst>
            <pc:docMk/>
            <pc:sldMk cId="2020202631" sldId="2076137328"/>
            <ac:spMk id="3" creationId="{D1D85962-0D66-FE52-7E3A-010CC8239F49}"/>
          </ac:spMkLst>
        </pc:spChg>
        <pc:spChg chg="del">
          <ac:chgData name="Moris Montejo" userId="55e843e1-b95f-4cc0-a457-c4d5fafa72c5" providerId="ADAL" clId="{C7B19B88-03A4-47F3-843E-E5AFCD3D7735}" dt="2023-05-03T20:38:54.927" v="329" actId="478"/>
          <ac:spMkLst>
            <pc:docMk/>
            <pc:sldMk cId="2020202631" sldId="2076137328"/>
            <ac:spMk id="4" creationId="{6480BE2B-4DCB-4AF3-8C5E-A31A6441982C}"/>
          </ac:spMkLst>
        </pc:spChg>
      </pc:sldChg>
      <pc:sldChg chg="addSp modSp mod modAnim">
        <pc:chgData name="Moris Montejo" userId="55e843e1-b95f-4cc0-a457-c4d5fafa72c5" providerId="ADAL" clId="{C7B19B88-03A4-47F3-843E-E5AFCD3D7735}" dt="2023-05-03T20:41:12.188" v="352"/>
        <pc:sldMkLst>
          <pc:docMk/>
          <pc:sldMk cId="1728916693" sldId="2076137329"/>
        </pc:sldMkLst>
        <pc:spChg chg="mod">
          <ac:chgData name="Moris Montejo" userId="55e843e1-b95f-4cc0-a457-c4d5fafa72c5" providerId="ADAL" clId="{C7B19B88-03A4-47F3-843E-E5AFCD3D7735}" dt="2023-05-03T20:40:56.072" v="349" actId="207"/>
          <ac:spMkLst>
            <pc:docMk/>
            <pc:sldMk cId="1728916693" sldId="2076137329"/>
            <ac:spMk id="3" creationId="{00000000-0000-0000-0000-000000000000}"/>
          </ac:spMkLst>
        </pc:spChg>
        <pc:spChg chg="add mod">
          <ac:chgData name="Moris Montejo" userId="55e843e1-b95f-4cc0-a457-c4d5fafa72c5" providerId="ADAL" clId="{C7B19B88-03A4-47F3-843E-E5AFCD3D7735}" dt="2023-05-03T20:30:36.256" v="231"/>
          <ac:spMkLst>
            <pc:docMk/>
            <pc:sldMk cId="1728916693" sldId="2076137329"/>
            <ac:spMk id="4" creationId="{3D4A2238-2C73-267B-8C4F-3A7BCB20808D}"/>
          </ac:spMkLst>
        </pc:spChg>
      </pc:sldChg>
      <pc:sldChg chg="addSp modSp mod modAnim">
        <pc:chgData name="Moris Montejo" userId="55e843e1-b95f-4cc0-a457-c4d5fafa72c5" providerId="ADAL" clId="{C7B19B88-03A4-47F3-843E-E5AFCD3D7735}" dt="2023-05-03T20:42:07.702" v="358" actId="207"/>
        <pc:sldMkLst>
          <pc:docMk/>
          <pc:sldMk cId="3589993246" sldId="2076137330"/>
        </pc:sldMkLst>
        <pc:spChg chg="add mod">
          <ac:chgData name="Moris Montejo" userId="55e843e1-b95f-4cc0-a457-c4d5fafa72c5" providerId="ADAL" clId="{C7B19B88-03A4-47F3-843E-E5AFCD3D7735}" dt="2023-05-03T20:30:37.424" v="232"/>
          <ac:spMkLst>
            <pc:docMk/>
            <pc:sldMk cId="3589993246" sldId="2076137330"/>
            <ac:spMk id="2" creationId="{28F2F331-61FC-E03B-9A67-5F2C310945BF}"/>
          </ac:spMkLst>
        </pc:spChg>
        <pc:spChg chg="mod">
          <ac:chgData name="Moris Montejo" userId="55e843e1-b95f-4cc0-a457-c4d5fafa72c5" providerId="ADAL" clId="{C7B19B88-03A4-47F3-843E-E5AFCD3D7735}" dt="2023-05-03T20:42:07.702" v="358" actId="207"/>
          <ac:spMkLst>
            <pc:docMk/>
            <pc:sldMk cId="3589993246" sldId="2076137330"/>
            <ac:spMk id="3" creationId="{00000000-0000-0000-0000-000000000000}"/>
          </ac:spMkLst>
        </pc:spChg>
        <pc:spChg chg="mod">
          <ac:chgData name="Moris Montejo" userId="55e843e1-b95f-4cc0-a457-c4d5fafa72c5" providerId="ADAL" clId="{C7B19B88-03A4-47F3-843E-E5AFCD3D7735}" dt="2023-05-03T20:42:00.894" v="357" actId="1076"/>
          <ac:spMkLst>
            <pc:docMk/>
            <pc:sldMk cId="3589993246" sldId="2076137330"/>
            <ac:spMk id="17" creationId="{D78B6835-1BA1-4847-B3D6-356B11A921E4}"/>
          </ac:spMkLst>
        </pc:spChg>
        <pc:spChg chg="mod">
          <ac:chgData name="Moris Montejo" userId="55e843e1-b95f-4cc0-a457-c4d5fafa72c5" providerId="ADAL" clId="{C7B19B88-03A4-47F3-843E-E5AFCD3D7735}" dt="2023-05-03T20:41:43.740" v="356" actId="207"/>
          <ac:spMkLst>
            <pc:docMk/>
            <pc:sldMk cId="3589993246" sldId="2076137330"/>
            <ac:spMk id="19" creationId="{9A723893-0B78-4002-8D40-8386747D05F0}"/>
          </ac:spMkLst>
        </pc:spChg>
      </pc:sldChg>
      <pc:sldChg chg="addSp modSp mod modAnim">
        <pc:chgData name="Moris Montejo" userId="55e843e1-b95f-4cc0-a457-c4d5fafa72c5" providerId="ADAL" clId="{C7B19B88-03A4-47F3-843E-E5AFCD3D7735}" dt="2023-05-03T20:43:25.660" v="362"/>
        <pc:sldMkLst>
          <pc:docMk/>
          <pc:sldMk cId="613245007" sldId="2076137331"/>
        </pc:sldMkLst>
        <pc:spChg chg="add mod">
          <ac:chgData name="Moris Montejo" userId="55e843e1-b95f-4cc0-a457-c4d5fafa72c5" providerId="ADAL" clId="{C7B19B88-03A4-47F3-843E-E5AFCD3D7735}" dt="2023-05-03T20:30:38.643" v="233"/>
          <ac:spMkLst>
            <pc:docMk/>
            <pc:sldMk cId="613245007" sldId="2076137331"/>
            <ac:spMk id="2" creationId="{948F64C0-62A2-DDB0-F9D5-15B292A4A826}"/>
          </ac:spMkLst>
        </pc:spChg>
        <pc:spChg chg="mod">
          <ac:chgData name="Moris Montejo" userId="55e843e1-b95f-4cc0-a457-c4d5fafa72c5" providerId="ADAL" clId="{C7B19B88-03A4-47F3-843E-E5AFCD3D7735}" dt="2023-05-03T20:42:16.136" v="359" actId="207"/>
          <ac:spMkLst>
            <pc:docMk/>
            <pc:sldMk cId="613245007" sldId="2076137331"/>
            <ac:spMk id="3" creationId="{00000000-0000-0000-0000-000000000000}"/>
          </ac:spMkLst>
        </pc:spChg>
      </pc:sldChg>
      <pc:sldChg chg="addSp modSp mod">
        <pc:chgData name="Moris Montejo" userId="55e843e1-b95f-4cc0-a457-c4d5fafa72c5" providerId="ADAL" clId="{C7B19B88-03A4-47F3-843E-E5AFCD3D7735}" dt="2023-05-03T20:43:33.765" v="363" actId="207"/>
        <pc:sldMkLst>
          <pc:docMk/>
          <pc:sldMk cId="1823759405" sldId="2076137332"/>
        </pc:sldMkLst>
        <pc:spChg chg="add mod">
          <ac:chgData name="Moris Montejo" userId="55e843e1-b95f-4cc0-a457-c4d5fafa72c5" providerId="ADAL" clId="{C7B19B88-03A4-47F3-843E-E5AFCD3D7735}" dt="2023-05-03T20:30:40.158" v="234"/>
          <ac:spMkLst>
            <pc:docMk/>
            <pc:sldMk cId="1823759405" sldId="2076137332"/>
            <ac:spMk id="2" creationId="{2A1CE667-4AE1-1D16-6240-BD49E8E887C7}"/>
          </ac:spMkLst>
        </pc:spChg>
        <pc:spChg chg="mod">
          <ac:chgData name="Moris Montejo" userId="55e843e1-b95f-4cc0-a457-c4d5fafa72c5" providerId="ADAL" clId="{C7B19B88-03A4-47F3-843E-E5AFCD3D7735}" dt="2023-05-03T20:43:33.765" v="363" actId="207"/>
          <ac:spMkLst>
            <pc:docMk/>
            <pc:sldMk cId="1823759405" sldId="2076137332"/>
            <ac:spMk id="3" creationId="{00000000-0000-0000-0000-000000000000}"/>
          </ac:spMkLst>
        </pc:spChg>
      </pc:sldChg>
      <pc:sldChg chg="addSp modSp mod">
        <pc:chgData name="Moris Montejo" userId="55e843e1-b95f-4cc0-a457-c4d5fafa72c5" providerId="ADAL" clId="{C7B19B88-03A4-47F3-843E-E5AFCD3D7735}" dt="2023-05-03T20:45:44.519" v="378" actId="207"/>
        <pc:sldMkLst>
          <pc:docMk/>
          <pc:sldMk cId="309868590" sldId="2076137333"/>
        </pc:sldMkLst>
        <pc:spChg chg="add mod">
          <ac:chgData name="Moris Montejo" userId="55e843e1-b95f-4cc0-a457-c4d5fafa72c5" providerId="ADAL" clId="{C7B19B88-03A4-47F3-843E-E5AFCD3D7735}" dt="2023-05-03T20:30:42.733" v="236"/>
          <ac:spMkLst>
            <pc:docMk/>
            <pc:sldMk cId="309868590" sldId="2076137333"/>
            <ac:spMk id="2" creationId="{77C2B420-1CC5-0B0C-8259-B34A64D8F452}"/>
          </ac:spMkLst>
        </pc:spChg>
        <pc:spChg chg="mod">
          <ac:chgData name="Moris Montejo" userId="55e843e1-b95f-4cc0-a457-c4d5fafa72c5" providerId="ADAL" clId="{C7B19B88-03A4-47F3-843E-E5AFCD3D7735}" dt="2023-05-03T20:45:44.519" v="378" actId="207"/>
          <ac:spMkLst>
            <pc:docMk/>
            <pc:sldMk cId="309868590" sldId="2076137333"/>
            <ac:spMk id="3" creationId="{00000000-0000-0000-0000-000000000000}"/>
          </ac:spMkLst>
        </pc:spChg>
      </pc:sldChg>
      <pc:sldChg chg="del">
        <pc:chgData name="Moris Montejo" userId="55e843e1-b95f-4cc0-a457-c4d5fafa72c5" providerId="ADAL" clId="{C7B19B88-03A4-47F3-843E-E5AFCD3D7735}" dt="2023-05-03T20:45:35.575" v="377" actId="47"/>
        <pc:sldMkLst>
          <pc:docMk/>
          <pc:sldMk cId="1257626105" sldId="2076137336"/>
        </pc:sldMkLst>
      </pc:sldChg>
      <pc:sldChg chg="addSp modSp mod">
        <pc:chgData name="Moris Montejo" userId="55e843e1-b95f-4cc0-a457-c4d5fafa72c5" providerId="ADAL" clId="{C7B19B88-03A4-47F3-843E-E5AFCD3D7735}" dt="2023-05-03T20:43:47.406" v="364" actId="207"/>
        <pc:sldMkLst>
          <pc:docMk/>
          <pc:sldMk cId="1516946336" sldId="2076137337"/>
        </pc:sldMkLst>
        <pc:spChg chg="add mod">
          <ac:chgData name="Moris Montejo" userId="55e843e1-b95f-4cc0-a457-c4d5fafa72c5" providerId="ADAL" clId="{C7B19B88-03A4-47F3-843E-E5AFCD3D7735}" dt="2023-05-03T20:30:41.141" v="235"/>
          <ac:spMkLst>
            <pc:docMk/>
            <pc:sldMk cId="1516946336" sldId="2076137337"/>
            <ac:spMk id="2" creationId="{495AC94E-E583-7B22-5D67-24227F392635}"/>
          </ac:spMkLst>
        </pc:spChg>
        <pc:spChg chg="mod">
          <ac:chgData name="Moris Montejo" userId="55e843e1-b95f-4cc0-a457-c4d5fafa72c5" providerId="ADAL" clId="{C7B19B88-03A4-47F3-843E-E5AFCD3D7735}" dt="2023-05-03T20:43:47.406" v="364" actId="207"/>
          <ac:spMkLst>
            <pc:docMk/>
            <pc:sldMk cId="1516946336" sldId="2076137337"/>
            <ac:spMk id="3" creationId="{00000000-0000-0000-0000-000000000000}"/>
          </ac:spMkLst>
        </pc:spChg>
      </pc:sldChg>
      <pc:sldChg chg="del">
        <pc:chgData name="Moris Montejo" userId="55e843e1-b95f-4cc0-a457-c4d5fafa72c5" providerId="ADAL" clId="{C7B19B88-03A4-47F3-843E-E5AFCD3D7735}" dt="2023-05-03T20:50:14.809" v="479" actId="47"/>
        <pc:sldMkLst>
          <pc:docMk/>
          <pc:sldMk cId="2114698994" sldId="2076137338"/>
        </pc:sldMkLst>
      </pc:sldChg>
      <pc:sldChg chg="addSp modSp mod modAnim">
        <pc:chgData name="Moris Montejo" userId="55e843e1-b95f-4cc0-a457-c4d5fafa72c5" providerId="ADAL" clId="{C7B19B88-03A4-47F3-843E-E5AFCD3D7735}" dt="2023-05-03T20:51:42.591" v="485"/>
        <pc:sldMkLst>
          <pc:docMk/>
          <pc:sldMk cId="3280653596" sldId="2076137339"/>
        </pc:sldMkLst>
        <pc:spChg chg="add mod">
          <ac:chgData name="Moris Montejo" userId="55e843e1-b95f-4cc0-a457-c4d5fafa72c5" providerId="ADAL" clId="{C7B19B88-03A4-47F3-843E-E5AFCD3D7735}" dt="2023-05-03T20:30:48.568" v="238"/>
          <ac:spMkLst>
            <pc:docMk/>
            <pc:sldMk cId="3280653596" sldId="2076137339"/>
            <ac:spMk id="2" creationId="{0EABBF8D-4FCC-7DC5-8ED7-CBCB63440235}"/>
          </ac:spMkLst>
        </pc:spChg>
        <pc:spChg chg="mod">
          <ac:chgData name="Moris Montejo" userId="55e843e1-b95f-4cc0-a457-c4d5fafa72c5" providerId="ADAL" clId="{C7B19B88-03A4-47F3-843E-E5AFCD3D7735}" dt="2023-05-03T20:50:52.903" v="482" actId="207"/>
          <ac:spMkLst>
            <pc:docMk/>
            <pc:sldMk cId="3280653596" sldId="2076137339"/>
            <ac:spMk id="3" creationId="{00000000-0000-0000-0000-000000000000}"/>
          </ac:spMkLst>
        </pc:spChg>
      </pc:sldChg>
      <pc:sldChg chg="addSp modSp mod">
        <pc:chgData name="Moris Montejo" userId="55e843e1-b95f-4cc0-a457-c4d5fafa72c5" providerId="ADAL" clId="{C7B19B88-03A4-47F3-843E-E5AFCD3D7735}" dt="2023-05-03T20:45:56.985" v="379" actId="207"/>
        <pc:sldMkLst>
          <pc:docMk/>
          <pc:sldMk cId="283771889" sldId="2076137340"/>
        </pc:sldMkLst>
        <pc:spChg chg="add mod">
          <ac:chgData name="Moris Montejo" userId="55e843e1-b95f-4cc0-a457-c4d5fafa72c5" providerId="ADAL" clId="{C7B19B88-03A4-47F3-843E-E5AFCD3D7735}" dt="2023-05-03T20:30:45.163" v="237"/>
          <ac:spMkLst>
            <pc:docMk/>
            <pc:sldMk cId="283771889" sldId="2076137340"/>
            <ac:spMk id="2" creationId="{F4CA9114-7049-ED96-E8D1-93626F0D3138}"/>
          </ac:spMkLst>
        </pc:spChg>
        <pc:spChg chg="mod">
          <ac:chgData name="Moris Montejo" userId="55e843e1-b95f-4cc0-a457-c4d5fafa72c5" providerId="ADAL" clId="{C7B19B88-03A4-47F3-843E-E5AFCD3D7735}" dt="2023-05-03T20:45:56.985" v="379" actId="207"/>
          <ac:spMkLst>
            <pc:docMk/>
            <pc:sldMk cId="283771889" sldId="2076137340"/>
            <ac:spMk id="3" creationId="{00000000-0000-0000-0000-000000000000}"/>
          </ac:spMkLst>
        </pc:spChg>
      </pc:sldChg>
      <pc:sldChg chg="del">
        <pc:chgData name="Moris Montejo" userId="55e843e1-b95f-4cc0-a457-c4d5fafa72c5" providerId="ADAL" clId="{C7B19B88-03A4-47F3-843E-E5AFCD3D7735}" dt="2023-05-03T20:48:52.048" v="419" actId="2696"/>
        <pc:sldMkLst>
          <pc:docMk/>
          <pc:sldMk cId="63153461" sldId="2076137341"/>
        </pc:sldMkLst>
      </pc:sldChg>
      <pc:sldChg chg="modSp mod">
        <pc:chgData name="Moris Montejo" userId="55e843e1-b95f-4cc0-a457-c4d5fafa72c5" providerId="ADAL" clId="{C7B19B88-03A4-47F3-843E-E5AFCD3D7735}" dt="2023-05-03T20:51:53.420" v="486" actId="207"/>
        <pc:sldMkLst>
          <pc:docMk/>
          <pc:sldMk cId="1505777196" sldId="2076137342"/>
        </pc:sldMkLst>
        <pc:spChg chg="mod">
          <ac:chgData name="Moris Montejo" userId="55e843e1-b95f-4cc0-a457-c4d5fafa72c5" providerId="ADAL" clId="{C7B19B88-03A4-47F3-843E-E5AFCD3D7735}" dt="2023-05-03T20:51:53.420" v="486" actId="207"/>
          <ac:spMkLst>
            <pc:docMk/>
            <pc:sldMk cId="1505777196" sldId="2076137342"/>
            <ac:spMk id="3" creationId="{00000000-0000-0000-0000-000000000000}"/>
          </ac:spMkLst>
        </pc:spChg>
      </pc:sldChg>
      <pc:sldChg chg="addSp modSp mod modAnim">
        <pc:chgData name="Moris Montejo" userId="55e843e1-b95f-4cc0-a457-c4d5fafa72c5" providerId="ADAL" clId="{C7B19B88-03A4-47F3-843E-E5AFCD3D7735}" dt="2023-05-03T20:54:24.774" v="507"/>
        <pc:sldMkLst>
          <pc:docMk/>
          <pc:sldMk cId="2559306339" sldId="2076137343"/>
        </pc:sldMkLst>
        <pc:spChg chg="add mod">
          <ac:chgData name="Moris Montejo" userId="55e843e1-b95f-4cc0-a457-c4d5fafa72c5" providerId="ADAL" clId="{C7B19B88-03A4-47F3-843E-E5AFCD3D7735}" dt="2023-05-03T20:30:55.983" v="242"/>
          <ac:spMkLst>
            <pc:docMk/>
            <pc:sldMk cId="2559306339" sldId="2076137343"/>
            <ac:spMk id="2" creationId="{1A70BC0E-CDC5-A087-AFD6-0FE25DF4C7CE}"/>
          </ac:spMkLst>
        </pc:spChg>
        <pc:spChg chg="mod">
          <ac:chgData name="Moris Montejo" userId="55e843e1-b95f-4cc0-a457-c4d5fafa72c5" providerId="ADAL" clId="{C7B19B88-03A4-47F3-843E-E5AFCD3D7735}" dt="2023-05-03T20:54:11.174" v="504" actId="207"/>
          <ac:spMkLst>
            <pc:docMk/>
            <pc:sldMk cId="2559306339" sldId="2076137343"/>
            <ac:spMk id="3" creationId="{00000000-0000-0000-0000-000000000000}"/>
          </ac:spMkLst>
        </pc:spChg>
      </pc:sldChg>
      <pc:sldChg chg="del">
        <pc:chgData name="Moris Montejo" userId="55e843e1-b95f-4cc0-a457-c4d5fafa72c5" providerId="ADAL" clId="{C7B19B88-03A4-47F3-843E-E5AFCD3D7735}" dt="2023-05-03T20:53:59.115" v="501" actId="47"/>
        <pc:sldMkLst>
          <pc:docMk/>
          <pc:sldMk cId="769957533" sldId="2076137344"/>
        </pc:sldMkLst>
      </pc:sldChg>
      <pc:sldChg chg="addSp modSp mod">
        <pc:chgData name="Moris Montejo" userId="55e843e1-b95f-4cc0-a457-c4d5fafa72c5" providerId="ADAL" clId="{C7B19B88-03A4-47F3-843E-E5AFCD3D7735}" dt="2023-05-03T20:56:38.629" v="520" actId="33524"/>
        <pc:sldMkLst>
          <pc:docMk/>
          <pc:sldMk cId="1089792961" sldId="2076137345"/>
        </pc:sldMkLst>
        <pc:spChg chg="add mod">
          <ac:chgData name="Moris Montejo" userId="55e843e1-b95f-4cc0-a457-c4d5fafa72c5" providerId="ADAL" clId="{C7B19B88-03A4-47F3-843E-E5AFCD3D7735}" dt="2023-05-03T20:30:51.986" v="239"/>
          <ac:spMkLst>
            <pc:docMk/>
            <pc:sldMk cId="1089792961" sldId="2076137345"/>
            <ac:spMk id="2" creationId="{0820F4AC-FF83-7A45-7F49-72C12CC96865}"/>
          </ac:spMkLst>
        </pc:spChg>
        <pc:spChg chg="mod">
          <ac:chgData name="Moris Montejo" userId="55e843e1-b95f-4cc0-a457-c4d5fafa72c5" providerId="ADAL" clId="{C7B19B88-03A4-47F3-843E-E5AFCD3D7735}" dt="2023-05-03T20:53:30.839" v="487" actId="207"/>
          <ac:spMkLst>
            <pc:docMk/>
            <pc:sldMk cId="1089792961" sldId="2076137345"/>
            <ac:spMk id="3" creationId="{00000000-0000-0000-0000-000000000000}"/>
          </ac:spMkLst>
        </pc:spChg>
        <pc:spChg chg="mod">
          <ac:chgData name="Moris Montejo" userId="55e843e1-b95f-4cc0-a457-c4d5fafa72c5" providerId="ADAL" clId="{C7B19B88-03A4-47F3-843E-E5AFCD3D7735}" dt="2023-05-03T20:56:38.629" v="520" actId="33524"/>
          <ac:spMkLst>
            <pc:docMk/>
            <pc:sldMk cId="1089792961" sldId="2076137345"/>
            <ac:spMk id="9" creationId="{6C1E1E07-1B82-4103-9DE9-6A87FA94B4CF}"/>
          </ac:spMkLst>
        </pc:spChg>
      </pc:sldChg>
      <pc:sldChg chg="addSp modSp mod">
        <pc:chgData name="Moris Montejo" userId="55e843e1-b95f-4cc0-a457-c4d5fafa72c5" providerId="ADAL" clId="{C7B19B88-03A4-47F3-843E-E5AFCD3D7735}" dt="2023-05-03T20:54:48.534" v="511" actId="207"/>
        <pc:sldMkLst>
          <pc:docMk/>
          <pc:sldMk cId="2597754682" sldId="2076137347"/>
        </pc:sldMkLst>
        <pc:spChg chg="add mod">
          <ac:chgData name="Moris Montejo" userId="55e843e1-b95f-4cc0-a457-c4d5fafa72c5" providerId="ADAL" clId="{C7B19B88-03A4-47F3-843E-E5AFCD3D7735}" dt="2023-05-03T20:31:02.744" v="246"/>
          <ac:spMkLst>
            <pc:docMk/>
            <pc:sldMk cId="2597754682" sldId="2076137347"/>
            <ac:spMk id="2" creationId="{496D3836-EEA0-EAFC-687F-A120CAE4984D}"/>
          </ac:spMkLst>
        </pc:spChg>
        <pc:spChg chg="mod">
          <ac:chgData name="Moris Montejo" userId="55e843e1-b95f-4cc0-a457-c4d5fafa72c5" providerId="ADAL" clId="{C7B19B88-03A4-47F3-843E-E5AFCD3D7735}" dt="2023-05-03T20:54:48.534" v="511" actId="207"/>
          <ac:spMkLst>
            <pc:docMk/>
            <pc:sldMk cId="2597754682" sldId="2076137347"/>
            <ac:spMk id="3" creationId="{00000000-0000-0000-0000-000000000000}"/>
          </ac:spMkLst>
        </pc:spChg>
      </pc:sldChg>
      <pc:sldChg chg="addSp modSp mod">
        <pc:chgData name="Moris Montejo" userId="55e843e1-b95f-4cc0-a457-c4d5fafa72c5" providerId="ADAL" clId="{C7B19B88-03A4-47F3-843E-E5AFCD3D7735}" dt="2023-05-03T20:54:36.077" v="509" actId="207"/>
        <pc:sldMkLst>
          <pc:docMk/>
          <pc:sldMk cId="663600939" sldId="2076137348"/>
        </pc:sldMkLst>
        <pc:spChg chg="add mod">
          <ac:chgData name="Moris Montejo" userId="55e843e1-b95f-4cc0-a457-c4d5fafa72c5" providerId="ADAL" clId="{C7B19B88-03A4-47F3-843E-E5AFCD3D7735}" dt="2023-05-03T20:31:00.120" v="244"/>
          <ac:spMkLst>
            <pc:docMk/>
            <pc:sldMk cId="663600939" sldId="2076137348"/>
            <ac:spMk id="2" creationId="{69F2B0C5-B547-B33B-0799-570C62DBA8DC}"/>
          </ac:spMkLst>
        </pc:spChg>
        <pc:spChg chg="mod">
          <ac:chgData name="Moris Montejo" userId="55e843e1-b95f-4cc0-a457-c4d5fafa72c5" providerId="ADAL" clId="{C7B19B88-03A4-47F3-843E-E5AFCD3D7735}" dt="2023-05-03T20:54:36.077" v="509" actId="207"/>
          <ac:spMkLst>
            <pc:docMk/>
            <pc:sldMk cId="663600939" sldId="2076137348"/>
            <ac:spMk id="3" creationId="{00000000-0000-0000-0000-000000000000}"/>
          </ac:spMkLst>
        </pc:spChg>
      </pc:sldChg>
      <pc:sldChg chg="addSp modSp mod">
        <pc:chgData name="Moris Montejo" userId="55e843e1-b95f-4cc0-a457-c4d5fafa72c5" providerId="ADAL" clId="{C7B19B88-03A4-47F3-843E-E5AFCD3D7735}" dt="2023-05-03T20:53:38.919" v="488" actId="207"/>
        <pc:sldMkLst>
          <pc:docMk/>
          <pc:sldMk cId="1068991563" sldId="2076137349"/>
        </pc:sldMkLst>
        <pc:spChg chg="add mod">
          <ac:chgData name="Moris Montejo" userId="55e843e1-b95f-4cc0-a457-c4d5fafa72c5" providerId="ADAL" clId="{C7B19B88-03A4-47F3-843E-E5AFCD3D7735}" dt="2023-05-03T20:30:53.182" v="240"/>
          <ac:spMkLst>
            <pc:docMk/>
            <pc:sldMk cId="1068991563" sldId="2076137349"/>
            <ac:spMk id="2" creationId="{422ABED0-49FF-CDC6-A4C5-55F72F00096C}"/>
          </ac:spMkLst>
        </pc:spChg>
        <pc:spChg chg="mod">
          <ac:chgData name="Moris Montejo" userId="55e843e1-b95f-4cc0-a457-c4d5fafa72c5" providerId="ADAL" clId="{C7B19B88-03A4-47F3-843E-E5AFCD3D7735}" dt="2023-05-03T20:53:38.919" v="488" actId="207"/>
          <ac:spMkLst>
            <pc:docMk/>
            <pc:sldMk cId="1068991563" sldId="2076137349"/>
            <ac:spMk id="3" creationId="{00000000-0000-0000-0000-000000000000}"/>
          </ac:spMkLst>
        </pc:spChg>
      </pc:sldChg>
      <pc:sldChg chg="addSp modSp mod">
        <pc:chgData name="Moris Montejo" userId="55e843e1-b95f-4cc0-a457-c4d5fafa72c5" providerId="ADAL" clId="{C7B19B88-03A4-47F3-843E-E5AFCD3D7735}" dt="2023-05-03T20:56:18.641" v="519" actId="1076"/>
        <pc:sldMkLst>
          <pc:docMk/>
          <pc:sldMk cId="749218332" sldId="2076137350"/>
        </pc:sldMkLst>
        <pc:spChg chg="add mod">
          <ac:chgData name="Moris Montejo" userId="55e843e1-b95f-4cc0-a457-c4d5fafa72c5" providerId="ADAL" clId="{C7B19B88-03A4-47F3-843E-E5AFCD3D7735}" dt="2023-05-03T20:30:58.385" v="243"/>
          <ac:spMkLst>
            <pc:docMk/>
            <pc:sldMk cId="749218332" sldId="2076137350"/>
            <ac:spMk id="2" creationId="{44040567-DF8B-C37F-3C92-D5E72D7CDCE5}"/>
          </ac:spMkLst>
        </pc:spChg>
        <pc:spChg chg="mod">
          <ac:chgData name="Moris Montejo" userId="55e843e1-b95f-4cc0-a457-c4d5fafa72c5" providerId="ADAL" clId="{C7B19B88-03A4-47F3-843E-E5AFCD3D7735}" dt="2023-05-03T20:54:30.179" v="508" actId="207"/>
          <ac:spMkLst>
            <pc:docMk/>
            <pc:sldMk cId="749218332" sldId="2076137350"/>
            <ac:spMk id="3" creationId="{00000000-0000-0000-0000-000000000000}"/>
          </ac:spMkLst>
        </pc:spChg>
        <pc:spChg chg="mod">
          <ac:chgData name="Moris Montejo" userId="55e843e1-b95f-4cc0-a457-c4d5fafa72c5" providerId="ADAL" clId="{C7B19B88-03A4-47F3-843E-E5AFCD3D7735}" dt="2023-05-03T20:56:18.641" v="519" actId="1076"/>
          <ac:spMkLst>
            <pc:docMk/>
            <pc:sldMk cId="749218332" sldId="2076137350"/>
            <ac:spMk id="7" creationId="{3D8C505E-0CA6-4A88-8649-340B65619F79}"/>
          </ac:spMkLst>
        </pc:spChg>
      </pc:sldChg>
      <pc:sldChg chg="addSp modSp mod">
        <pc:chgData name="Moris Montejo" userId="55e843e1-b95f-4cc0-a457-c4d5fafa72c5" providerId="ADAL" clId="{C7B19B88-03A4-47F3-843E-E5AFCD3D7735}" dt="2023-05-03T20:53:43.609" v="489" actId="207"/>
        <pc:sldMkLst>
          <pc:docMk/>
          <pc:sldMk cId="753455634" sldId="2076137351"/>
        </pc:sldMkLst>
        <pc:spChg chg="add mod">
          <ac:chgData name="Moris Montejo" userId="55e843e1-b95f-4cc0-a457-c4d5fafa72c5" providerId="ADAL" clId="{C7B19B88-03A4-47F3-843E-E5AFCD3D7735}" dt="2023-05-03T20:30:54.347" v="241"/>
          <ac:spMkLst>
            <pc:docMk/>
            <pc:sldMk cId="753455634" sldId="2076137351"/>
            <ac:spMk id="2" creationId="{975E8FAF-8E51-20D7-B5D4-7FE9E2738FD6}"/>
          </ac:spMkLst>
        </pc:spChg>
        <pc:spChg chg="mod">
          <ac:chgData name="Moris Montejo" userId="55e843e1-b95f-4cc0-a457-c4d5fafa72c5" providerId="ADAL" clId="{C7B19B88-03A4-47F3-843E-E5AFCD3D7735}" dt="2023-05-03T20:53:43.609" v="489" actId="207"/>
          <ac:spMkLst>
            <pc:docMk/>
            <pc:sldMk cId="753455634" sldId="2076137351"/>
            <ac:spMk id="3" creationId="{00000000-0000-0000-0000-000000000000}"/>
          </ac:spMkLst>
        </pc:spChg>
      </pc:sldChg>
      <pc:sldChg chg="addSp modSp mod">
        <pc:chgData name="Moris Montejo" userId="55e843e1-b95f-4cc0-a457-c4d5fafa72c5" providerId="ADAL" clId="{C7B19B88-03A4-47F3-843E-E5AFCD3D7735}" dt="2023-05-03T20:54:42.962" v="510" actId="207"/>
        <pc:sldMkLst>
          <pc:docMk/>
          <pc:sldMk cId="692928180" sldId="2076137352"/>
        </pc:sldMkLst>
        <pc:spChg chg="add mod">
          <ac:chgData name="Moris Montejo" userId="55e843e1-b95f-4cc0-a457-c4d5fafa72c5" providerId="ADAL" clId="{C7B19B88-03A4-47F3-843E-E5AFCD3D7735}" dt="2023-05-03T20:31:01.463" v="245"/>
          <ac:spMkLst>
            <pc:docMk/>
            <pc:sldMk cId="692928180" sldId="2076137352"/>
            <ac:spMk id="2" creationId="{5F41BB06-D2AB-205B-AA18-B583891E4F0D}"/>
          </ac:spMkLst>
        </pc:spChg>
        <pc:spChg chg="mod">
          <ac:chgData name="Moris Montejo" userId="55e843e1-b95f-4cc0-a457-c4d5fafa72c5" providerId="ADAL" clId="{C7B19B88-03A4-47F3-843E-E5AFCD3D7735}" dt="2023-05-03T20:54:42.962" v="510" actId="207"/>
          <ac:spMkLst>
            <pc:docMk/>
            <pc:sldMk cId="692928180" sldId="2076137352"/>
            <ac:spMk id="3" creationId="{00000000-0000-0000-0000-000000000000}"/>
          </ac:spMkLst>
        </pc:spChg>
      </pc:sldChg>
      <pc:sldChg chg="add">
        <pc:chgData name="Moris Montejo" userId="55e843e1-b95f-4cc0-a457-c4d5fafa72c5" providerId="ADAL" clId="{C7B19B88-03A4-47F3-843E-E5AFCD3D7735}" dt="2023-05-03T20:18:53.038" v="0"/>
        <pc:sldMkLst>
          <pc:docMk/>
          <pc:sldMk cId="248224668" sldId="2076137353"/>
        </pc:sldMkLst>
      </pc:sldChg>
      <pc:sldChg chg="modSp add mod">
        <pc:chgData name="Moris Montejo" userId="55e843e1-b95f-4cc0-a457-c4d5fafa72c5" providerId="ADAL" clId="{C7B19B88-03A4-47F3-843E-E5AFCD3D7735}" dt="2023-05-03T20:24:28.256" v="205" actId="2710"/>
        <pc:sldMkLst>
          <pc:docMk/>
          <pc:sldMk cId="601706283" sldId="2145706662"/>
        </pc:sldMkLst>
        <pc:spChg chg="mod">
          <ac:chgData name="Moris Montejo" userId="55e843e1-b95f-4cc0-a457-c4d5fafa72c5" providerId="ADAL" clId="{C7B19B88-03A4-47F3-843E-E5AFCD3D7735}" dt="2023-05-03T20:24:28.256" v="205" actId="2710"/>
          <ac:spMkLst>
            <pc:docMk/>
            <pc:sldMk cId="601706283" sldId="2145706662"/>
            <ac:spMk id="5" creationId="{27132E6D-A6EE-402B-895A-D0B053AB702A}"/>
          </ac:spMkLst>
        </pc:spChg>
      </pc:sldChg>
      <pc:sldChg chg="addSp delSp modSp add mod">
        <pc:chgData name="Moris Montejo" userId="55e843e1-b95f-4cc0-a457-c4d5fafa72c5" providerId="ADAL" clId="{C7B19B88-03A4-47F3-843E-E5AFCD3D7735}" dt="2023-05-05T04:45:29.642" v="3522" actId="20577"/>
        <pc:sldMkLst>
          <pc:docMk/>
          <pc:sldMk cId="641711193" sldId="2147469902"/>
        </pc:sldMkLst>
        <pc:graphicFrameChg chg="mod modGraphic">
          <ac:chgData name="Moris Montejo" userId="55e843e1-b95f-4cc0-a457-c4d5fafa72c5" providerId="ADAL" clId="{C7B19B88-03A4-47F3-843E-E5AFCD3D7735}" dt="2023-05-05T04:45:29.642" v="3522" actId="20577"/>
          <ac:graphicFrameMkLst>
            <pc:docMk/>
            <pc:sldMk cId="641711193" sldId="2147469902"/>
            <ac:graphicFrameMk id="41" creationId="{2F2EA0C9-C38D-4F1A-8551-0B45DED4B9B8}"/>
          </ac:graphicFrameMkLst>
        </pc:graphicFrameChg>
        <pc:cxnChg chg="add del mod">
          <ac:chgData name="Moris Montejo" userId="55e843e1-b95f-4cc0-a457-c4d5fafa72c5" providerId="ADAL" clId="{C7B19B88-03A4-47F3-843E-E5AFCD3D7735}" dt="2023-05-03T21:08:29.679" v="626" actId="478"/>
          <ac:cxnSpMkLst>
            <pc:docMk/>
            <pc:sldMk cId="641711193" sldId="2147469902"/>
            <ac:cxnSpMk id="3" creationId="{33CEE9B6-FF80-E823-DE14-0C1C39C99AE9}"/>
          </ac:cxnSpMkLst>
        </pc:cxnChg>
        <pc:cxnChg chg="mod">
          <ac:chgData name="Moris Montejo" userId="55e843e1-b95f-4cc0-a457-c4d5fafa72c5" providerId="ADAL" clId="{C7B19B88-03A4-47F3-843E-E5AFCD3D7735}" dt="2023-05-03T21:09:13.852" v="635" actId="1076"/>
          <ac:cxnSpMkLst>
            <pc:docMk/>
            <pc:sldMk cId="641711193" sldId="2147469902"/>
            <ac:cxnSpMk id="5" creationId="{216557A9-2B37-9FB4-D38C-37BBE67160F2}"/>
          </ac:cxnSpMkLst>
        </pc:cxnChg>
        <pc:cxnChg chg="mod">
          <ac:chgData name="Moris Montejo" userId="55e843e1-b95f-4cc0-a457-c4d5fafa72c5" providerId="ADAL" clId="{C7B19B88-03A4-47F3-843E-E5AFCD3D7735}" dt="2023-05-03T21:09:15.825" v="636" actId="1076"/>
          <ac:cxnSpMkLst>
            <pc:docMk/>
            <pc:sldMk cId="641711193" sldId="2147469902"/>
            <ac:cxnSpMk id="6" creationId="{2C8F0754-DCF9-5682-73CA-C4711001203E}"/>
          </ac:cxnSpMkLst>
        </pc:cxnChg>
        <pc:cxnChg chg="mod">
          <ac:chgData name="Moris Montejo" userId="55e843e1-b95f-4cc0-a457-c4d5fafa72c5" providerId="ADAL" clId="{C7B19B88-03A4-47F3-843E-E5AFCD3D7735}" dt="2023-05-03T20:23:41.809" v="152" actId="1076"/>
          <ac:cxnSpMkLst>
            <pc:docMk/>
            <pc:sldMk cId="641711193" sldId="2147469902"/>
            <ac:cxnSpMk id="50" creationId="{26FAB757-B91F-42E0-8DDA-81C39A2F8225}"/>
          </ac:cxnSpMkLst>
        </pc:cxnChg>
      </pc:sldChg>
      <pc:sldChg chg="add del">
        <pc:chgData name="Moris Montejo" userId="55e843e1-b95f-4cc0-a457-c4d5fafa72c5" providerId="ADAL" clId="{C7B19B88-03A4-47F3-843E-E5AFCD3D7735}" dt="2023-05-03T20:24:04.374" v="158"/>
        <pc:sldMkLst>
          <pc:docMk/>
          <pc:sldMk cId="708622212" sldId="2147469903"/>
        </pc:sldMkLst>
      </pc:sldChg>
      <pc:sldChg chg="modSp add mod">
        <pc:chgData name="Moris Montejo" userId="55e843e1-b95f-4cc0-a457-c4d5fafa72c5" providerId="ADAL" clId="{C7B19B88-03A4-47F3-843E-E5AFCD3D7735}" dt="2023-05-03T20:36:14.290" v="300" actId="20577"/>
        <pc:sldMkLst>
          <pc:docMk/>
          <pc:sldMk cId="3740607867" sldId="2147469903"/>
        </pc:sldMkLst>
        <pc:spChg chg="mod">
          <ac:chgData name="Moris Montejo" userId="55e843e1-b95f-4cc0-a457-c4d5fafa72c5" providerId="ADAL" clId="{C7B19B88-03A4-47F3-843E-E5AFCD3D7735}" dt="2023-05-03T20:36:14.290" v="300" actId="20577"/>
          <ac:spMkLst>
            <pc:docMk/>
            <pc:sldMk cId="3740607867" sldId="2147469903"/>
            <ac:spMk id="5" creationId="{27132E6D-A6EE-402B-895A-D0B053AB702A}"/>
          </ac:spMkLst>
        </pc:spChg>
      </pc:sldChg>
      <pc:sldChg chg="modSp add mod">
        <pc:chgData name="Moris Montejo" userId="55e843e1-b95f-4cc0-a457-c4d5fafa72c5" providerId="ADAL" clId="{C7B19B88-03A4-47F3-843E-E5AFCD3D7735}" dt="2023-05-03T20:39:45.610" v="345" actId="20577"/>
        <pc:sldMkLst>
          <pc:docMk/>
          <pc:sldMk cId="22090387" sldId="2147469904"/>
        </pc:sldMkLst>
        <pc:spChg chg="mod">
          <ac:chgData name="Moris Montejo" userId="55e843e1-b95f-4cc0-a457-c4d5fafa72c5" providerId="ADAL" clId="{C7B19B88-03A4-47F3-843E-E5AFCD3D7735}" dt="2023-05-03T20:39:45.610" v="345" actId="20577"/>
          <ac:spMkLst>
            <pc:docMk/>
            <pc:sldMk cId="22090387" sldId="2147469904"/>
            <ac:spMk id="5" creationId="{27132E6D-A6EE-402B-895A-D0B053AB702A}"/>
          </ac:spMkLst>
        </pc:spChg>
      </pc:sldChg>
      <pc:sldChg chg="modSp add mod modNotesTx">
        <pc:chgData name="Moris Montejo" userId="55e843e1-b95f-4cc0-a457-c4d5fafa72c5" providerId="ADAL" clId="{C7B19B88-03A4-47F3-843E-E5AFCD3D7735}" dt="2023-05-03T20:49:15.041" v="421" actId="2711"/>
        <pc:sldMkLst>
          <pc:docMk/>
          <pc:sldMk cId="3720059852" sldId="2147469905"/>
        </pc:sldMkLst>
        <pc:spChg chg="mod">
          <ac:chgData name="Moris Montejo" userId="55e843e1-b95f-4cc0-a457-c4d5fafa72c5" providerId="ADAL" clId="{C7B19B88-03A4-47F3-843E-E5AFCD3D7735}" dt="2023-05-03T20:49:15.041" v="421" actId="2711"/>
          <ac:spMkLst>
            <pc:docMk/>
            <pc:sldMk cId="3720059852" sldId="2147469905"/>
            <ac:spMk id="17" creationId="{ACB878CC-94A7-4ED0-A6E6-34F9BAEF01B0}"/>
          </ac:spMkLst>
        </pc:spChg>
      </pc:sldChg>
      <pc:sldChg chg="modSp add mod">
        <pc:chgData name="Moris Montejo" userId="55e843e1-b95f-4cc0-a457-c4d5fafa72c5" providerId="ADAL" clId="{C7B19B88-03A4-47F3-843E-E5AFCD3D7735}" dt="2023-05-03T20:50:11.706" v="478" actId="20577"/>
        <pc:sldMkLst>
          <pc:docMk/>
          <pc:sldMk cId="1615540562" sldId="2147469906"/>
        </pc:sldMkLst>
        <pc:spChg chg="mod">
          <ac:chgData name="Moris Montejo" userId="55e843e1-b95f-4cc0-a457-c4d5fafa72c5" providerId="ADAL" clId="{C7B19B88-03A4-47F3-843E-E5AFCD3D7735}" dt="2023-05-03T20:50:11.706" v="478" actId="20577"/>
          <ac:spMkLst>
            <pc:docMk/>
            <pc:sldMk cId="1615540562" sldId="2147469906"/>
            <ac:spMk id="5" creationId="{27132E6D-A6EE-402B-895A-D0B053AB702A}"/>
          </ac:spMkLst>
        </pc:spChg>
      </pc:sldChg>
      <pc:sldChg chg="modSp add mod">
        <pc:chgData name="Moris Montejo" userId="55e843e1-b95f-4cc0-a457-c4d5fafa72c5" providerId="ADAL" clId="{C7B19B88-03A4-47F3-843E-E5AFCD3D7735}" dt="2023-05-03T20:53:56.585" v="500" actId="20577"/>
        <pc:sldMkLst>
          <pc:docMk/>
          <pc:sldMk cId="293882675" sldId="2147469907"/>
        </pc:sldMkLst>
        <pc:spChg chg="mod">
          <ac:chgData name="Moris Montejo" userId="55e843e1-b95f-4cc0-a457-c4d5fafa72c5" providerId="ADAL" clId="{C7B19B88-03A4-47F3-843E-E5AFCD3D7735}" dt="2023-05-03T20:53:56.585" v="500" actId="20577"/>
          <ac:spMkLst>
            <pc:docMk/>
            <pc:sldMk cId="293882675" sldId="2147469907"/>
            <ac:spMk id="5" creationId="{27132E6D-A6EE-402B-895A-D0B053AB702A}"/>
          </ac:spMkLst>
        </pc:spChg>
      </pc:sldChg>
      <pc:sldChg chg="add">
        <pc:chgData name="Moris Montejo" userId="55e843e1-b95f-4cc0-a457-c4d5fafa72c5" providerId="ADAL" clId="{C7B19B88-03A4-47F3-843E-E5AFCD3D7735}" dt="2023-05-03T20:55:11.324" v="512"/>
        <pc:sldMkLst>
          <pc:docMk/>
          <pc:sldMk cId="1731996720" sldId="2147469908"/>
        </pc:sldMkLst>
      </pc:sldChg>
      <pc:sldChg chg="modSp add mod">
        <pc:chgData name="Moris Montejo" userId="55e843e1-b95f-4cc0-a457-c4d5fafa72c5" providerId="ADAL" clId="{C7B19B88-03A4-47F3-843E-E5AFCD3D7735}" dt="2023-05-03T21:00:33.811" v="623" actId="20577"/>
        <pc:sldMkLst>
          <pc:docMk/>
          <pc:sldMk cId="3428807029" sldId="2147469909"/>
        </pc:sldMkLst>
        <pc:spChg chg="mod">
          <ac:chgData name="Moris Montejo" userId="55e843e1-b95f-4cc0-a457-c4d5fafa72c5" providerId="ADAL" clId="{C7B19B88-03A4-47F3-843E-E5AFCD3D7735}" dt="2023-05-03T20:59:56.098" v="569" actId="20577"/>
          <ac:spMkLst>
            <pc:docMk/>
            <pc:sldMk cId="3428807029" sldId="2147469909"/>
            <ac:spMk id="2" creationId="{BC57B38C-8413-4861-A4F5-7DF656AEAD0D}"/>
          </ac:spMkLst>
        </pc:spChg>
        <pc:spChg chg="mod">
          <ac:chgData name="Moris Montejo" userId="55e843e1-b95f-4cc0-a457-c4d5fafa72c5" providerId="ADAL" clId="{C7B19B88-03A4-47F3-843E-E5AFCD3D7735}" dt="2023-05-03T21:00:33.811" v="623" actId="20577"/>
          <ac:spMkLst>
            <pc:docMk/>
            <pc:sldMk cId="3428807029" sldId="2147469909"/>
            <ac:spMk id="14" creationId="{2044E162-68FA-4C0E-B9D3-D4C8561D02EE}"/>
          </ac:spMkLst>
        </pc:spChg>
      </pc:sldChg>
      <pc:sldChg chg="modSp mod">
        <pc:chgData name="Moris Montejo" userId="55e843e1-b95f-4cc0-a457-c4d5fafa72c5" providerId="ADAL" clId="{C7B19B88-03A4-47F3-843E-E5AFCD3D7735}" dt="2023-05-04T21:37:39.995" v="3483" actId="1076"/>
        <pc:sldMkLst>
          <pc:docMk/>
          <pc:sldMk cId="2710265241" sldId="2147469910"/>
        </pc:sldMkLst>
        <pc:spChg chg="mod">
          <ac:chgData name="Moris Montejo" userId="55e843e1-b95f-4cc0-a457-c4d5fafa72c5" providerId="ADAL" clId="{C7B19B88-03A4-47F3-843E-E5AFCD3D7735}" dt="2023-05-04T21:37:39.995" v="3483" actId="1076"/>
          <ac:spMkLst>
            <pc:docMk/>
            <pc:sldMk cId="2710265241" sldId="2147469910"/>
            <ac:spMk id="5" creationId="{27132E6D-A6EE-402B-895A-D0B053AB702A}"/>
          </ac:spMkLst>
        </pc:spChg>
      </pc:sldChg>
      <pc:sldChg chg="modSp mod">
        <pc:chgData name="Moris Montejo" userId="55e843e1-b95f-4cc0-a457-c4d5fafa72c5" providerId="ADAL" clId="{C7B19B88-03A4-47F3-843E-E5AFCD3D7735}" dt="2023-05-04T14:08:01.281" v="696" actId="14100"/>
        <pc:sldMkLst>
          <pc:docMk/>
          <pc:sldMk cId="958331285" sldId="2147469911"/>
        </pc:sldMkLst>
        <pc:spChg chg="mod">
          <ac:chgData name="Moris Montejo" userId="55e843e1-b95f-4cc0-a457-c4d5fafa72c5" providerId="ADAL" clId="{C7B19B88-03A4-47F3-843E-E5AFCD3D7735}" dt="2023-05-04T14:08:01.281" v="696" actId="14100"/>
          <ac:spMkLst>
            <pc:docMk/>
            <pc:sldMk cId="958331285" sldId="2147469911"/>
            <ac:spMk id="6" creationId="{12808BD5-6BEE-4164-9264-E55A823F2E3D}"/>
          </ac:spMkLst>
        </pc:spChg>
      </pc:sldChg>
      <pc:sldChg chg="addSp delSp modSp mod modAnim modNotesTx">
        <pc:chgData name="Moris Montejo" userId="55e843e1-b95f-4cc0-a457-c4d5fafa72c5" providerId="ADAL" clId="{C7B19B88-03A4-47F3-843E-E5AFCD3D7735}" dt="2023-05-04T21:36:38.015" v="3481" actId="1076"/>
        <pc:sldMkLst>
          <pc:docMk/>
          <pc:sldMk cId="16336930" sldId="2147469912"/>
        </pc:sldMkLst>
        <pc:spChg chg="mod">
          <ac:chgData name="Moris Montejo" userId="55e843e1-b95f-4cc0-a457-c4d5fafa72c5" providerId="ADAL" clId="{C7B19B88-03A4-47F3-843E-E5AFCD3D7735}" dt="2023-05-04T19:31:49.112" v="755" actId="20577"/>
          <ac:spMkLst>
            <pc:docMk/>
            <pc:sldMk cId="16336930" sldId="2147469912"/>
            <ac:spMk id="3" creationId="{00000000-0000-0000-0000-000000000000}"/>
          </ac:spMkLst>
        </pc:spChg>
        <pc:spChg chg="mod">
          <ac:chgData name="Moris Montejo" userId="55e843e1-b95f-4cc0-a457-c4d5fafa72c5" providerId="ADAL" clId="{C7B19B88-03A4-47F3-843E-E5AFCD3D7735}" dt="2023-05-04T19:38:40.491" v="1011" actId="207"/>
          <ac:spMkLst>
            <pc:docMk/>
            <pc:sldMk cId="16336930" sldId="2147469912"/>
            <ac:spMk id="9" creationId="{6C1E1E07-1B82-4103-9DE9-6A87FA94B4CF}"/>
          </ac:spMkLst>
        </pc:spChg>
        <pc:spChg chg="add mod">
          <ac:chgData name="Moris Montejo" userId="55e843e1-b95f-4cc0-a457-c4d5fafa72c5" providerId="ADAL" clId="{C7B19B88-03A4-47F3-843E-E5AFCD3D7735}" dt="2023-05-04T21:36:38.015" v="3481" actId="1076"/>
          <ac:spMkLst>
            <pc:docMk/>
            <pc:sldMk cId="16336930" sldId="2147469912"/>
            <ac:spMk id="12" creationId="{4A52E9A2-7B94-67FF-5CEF-00DE9B1353C4}"/>
          </ac:spMkLst>
        </pc:spChg>
        <pc:picChg chg="del">
          <ac:chgData name="Moris Montejo" userId="55e843e1-b95f-4cc0-a457-c4d5fafa72c5" providerId="ADAL" clId="{C7B19B88-03A4-47F3-843E-E5AFCD3D7735}" dt="2023-05-04T19:32:09.318" v="758" actId="478"/>
          <ac:picMkLst>
            <pc:docMk/>
            <pc:sldMk cId="16336930" sldId="2147469912"/>
            <ac:picMk id="4" creationId="{35F85B8E-4AD0-4CCE-AEC5-1DEBA6847900}"/>
          </ac:picMkLst>
        </pc:picChg>
        <pc:picChg chg="del">
          <ac:chgData name="Moris Montejo" userId="55e843e1-b95f-4cc0-a457-c4d5fafa72c5" providerId="ADAL" clId="{C7B19B88-03A4-47F3-843E-E5AFCD3D7735}" dt="2023-05-04T19:32:11.050" v="759" actId="478"/>
          <ac:picMkLst>
            <pc:docMk/>
            <pc:sldMk cId="16336930" sldId="2147469912"/>
            <ac:picMk id="6" creationId="{B3B48062-CB7B-46B3-BA47-F31D6B9D1872}"/>
          </ac:picMkLst>
        </pc:picChg>
        <pc:picChg chg="add mod">
          <ac:chgData name="Moris Montejo" userId="55e843e1-b95f-4cc0-a457-c4d5fafa72c5" providerId="ADAL" clId="{C7B19B88-03A4-47F3-843E-E5AFCD3D7735}" dt="2023-05-04T19:37:30.523" v="998" actId="14100"/>
          <ac:picMkLst>
            <pc:docMk/>
            <pc:sldMk cId="16336930" sldId="2147469912"/>
            <ac:picMk id="7" creationId="{4F828475-E201-543E-EE7D-1FF0D086A64B}"/>
          </ac:picMkLst>
        </pc:picChg>
        <pc:picChg chg="add del">
          <ac:chgData name="Moris Montejo" userId="55e843e1-b95f-4cc0-a457-c4d5fafa72c5" providerId="ADAL" clId="{C7B19B88-03A4-47F3-843E-E5AFCD3D7735}" dt="2023-05-04T19:39:43.463" v="1013" actId="22"/>
          <ac:picMkLst>
            <pc:docMk/>
            <pc:sldMk cId="16336930" sldId="2147469912"/>
            <ac:picMk id="10" creationId="{C701E725-C457-69A0-771D-E9BD9AC87466}"/>
          </ac:picMkLst>
        </pc:picChg>
      </pc:sldChg>
      <pc:sldChg chg="addSp delSp modSp add mod modAnim modNotesTx">
        <pc:chgData name="Moris Montejo" userId="55e843e1-b95f-4cc0-a457-c4d5fafa72c5" providerId="ADAL" clId="{C7B19B88-03A4-47F3-843E-E5AFCD3D7735}" dt="2023-05-04T20:00:23.167" v="1214" actId="1076"/>
        <pc:sldMkLst>
          <pc:docMk/>
          <pc:sldMk cId="1561229640" sldId="2147469913"/>
        </pc:sldMkLst>
        <pc:spChg chg="mod">
          <ac:chgData name="Moris Montejo" userId="55e843e1-b95f-4cc0-a457-c4d5fafa72c5" providerId="ADAL" clId="{C7B19B88-03A4-47F3-843E-E5AFCD3D7735}" dt="2023-05-04T19:40:10.323" v="1054" actId="207"/>
          <ac:spMkLst>
            <pc:docMk/>
            <pc:sldMk cId="1561229640" sldId="2147469913"/>
            <ac:spMk id="3" creationId="{00000000-0000-0000-0000-000000000000}"/>
          </ac:spMkLst>
        </pc:spChg>
        <pc:spChg chg="del mod">
          <ac:chgData name="Moris Montejo" userId="55e843e1-b95f-4cc0-a457-c4d5fafa72c5" providerId="ADAL" clId="{C7B19B88-03A4-47F3-843E-E5AFCD3D7735}" dt="2023-05-04T19:44:20.144" v="1057" actId="22"/>
          <ac:spMkLst>
            <pc:docMk/>
            <pc:sldMk cId="1561229640" sldId="2147469913"/>
            <ac:spMk id="9" creationId="{6C1E1E07-1B82-4103-9DE9-6A87FA94B4CF}"/>
          </ac:spMkLst>
        </pc:spChg>
        <pc:spChg chg="add del mod">
          <ac:chgData name="Moris Montejo" userId="55e843e1-b95f-4cc0-a457-c4d5fafa72c5" providerId="ADAL" clId="{C7B19B88-03A4-47F3-843E-E5AFCD3D7735}" dt="2023-05-04T19:47:45.543" v="1074" actId="478"/>
          <ac:spMkLst>
            <pc:docMk/>
            <pc:sldMk cId="1561229640" sldId="2147469913"/>
            <ac:spMk id="11" creationId="{2ACF4892-4B8C-11CF-7AE3-FB9A3959D202}"/>
          </ac:spMkLst>
        </pc:spChg>
        <pc:spChg chg="add mod">
          <ac:chgData name="Moris Montejo" userId="55e843e1-b95f-4cc0-a457-c4d5fafa72c5" providerId="ADAL" clId="{C7B19B88-03A4-47F3-843E-E5AFCD3D7735}" dt="2023-05-04T19:49:26.840" v="1106" actId="207"/>
          <ac:spMkLst>
            <pc:docMk/>
            <pc:sldMk cId="1561229640" sldId="2147469913"/>
            <ac:spMk id="16" creationId="{9BAB5A57-DB32-0F41-D47C-60AF8CCD6985}"/>
          </ac:spMkLst>
        </pc:spChg>
        <pc:spChg chg="add del">
          <ac:chgData name="Moris Montejo" userId="55e843e1-b95f-4cc0-a457-c4d5fafa72c5" providerId="ADAL" clId="{C7B19B88-03A4-47F3-843E-E5AFCD3D7735}" dt="2023-05-04T19:49:34.022" v="1109"/>
          <ac:spMkLst>
            <pc:docMk/>
            <pc:sldMk cId="1561229640" sldId="2147469913"/>
            <ac:spMk id="17" creationId="{B917BAC4-C488-3872-ED23-5C849DF486DF}"/>
          </ac:spMkLst>
        </pc:spChg>
        <pc:spChg chg="add del mod">
          <ac:chgData name="Moris Montejo" userId="55e843e1-b95f-4cc0-a457-c4d5fafa72c5" providerId="ADAL" clId="{C7B19B88-03A4-47F3-843E-E5AFCD3D7735}" dt="2023-05-04T19:49:46.007" v="1113" actId="478"/>
          <ac:spMkLst>
            <pc:docMk/>
            <pc:sldMk cId="1561229640" sldId="2147469913"/>
            <ac:spMk id="18" creationId="{951FB55B-ADFB-F588-BFA7-E9E74624A0A7}"/>
          </ac:spMkLst>
        </pc:spChg>
        <pc:spChg chg="add del">
          <ac:chgData name="Moris Montejo" userId="55e843e1-b95f-4cc0-a457-c4d5fafa72c5" providerId="ADAL" clId="{C7B19B88-03A4-47F3-843E-E5AFCD3D7735}" dt="2023-05-04T19:49:49.316" v="1115" actId="478"/>
          <ac:spMkLst>
            <pc:docMk/>
            <pc:sldMk cId="1561229640" sldId="2147469913"/>
            <ac:spMk id="19" creationId="{6FBA9952-0055-B2A0-9A86-EF866430990C}"/>
          </ac:spMkLst>
        </pc:spChg>
        <pc:spChg chg="add del mod">
          <ac:chgData name="Moris Montejo" userId="55e843e1-b95f-4cc0-a457-c4d5fafa72c5" providerId="ADAL" clId="{C7B19B88-03A4-47F3-843E-E5AFCD3D7735}" dt="2023-05-04T19:51:13.955" v="1127" actId="478"/>
          <ac:spMkLst>
            <pc:docMk/>
            <pc:sldMk cId="1561229640" sldId="2147469913"/>
            <ac:spMk id="20" creationId="{E0FE8F72-7EA3-36BE-85CE-462EA6085EBC}"/>
          </ac:spMkLst>
        </pc:spChg>
        <pc:spChg chg="add mod">
          <ac:chgData name="Moris Montejo" userId="55e843e1-b95f-4cc0-a457-c4d5fafa72c5" providerId="ADAL" clId="{C7B19B88-03A4-47F3-843E-E5AFCD3D7735}" dt="2023-05-04T19:56:18.442" v="1184" actId="1076"/>
          <ac:spMkLst>
            <pc:docMk/>
            <pc:sldMk cId="1561229640" sldId="2147469913"/>
            <ac:spMk id="22" creationId="{C6E940D9-CE2A-D112-D40C-5E414566160F}"/>
          </ac:spMkLst>
        </pc:spChg>
        <pc:spChg chg="add mod">
          <ac:chgData name="Moris Montejo" userId="55e843e1-b95f-4cc0-a457-c4d5fafa72c5" providerId="ADAL" clId="{C7B19B88-03A4-47F3-843E-E5AFCD3D7735}" dt="2023-05-04T19:56:18.442" v="1184" actId="1076"/>
          <ac:spMkLst>
            <pc:docMk/>
            <pc:sldMk cId="1561229640" sldId="2147469913"/>
            <ac:spMk id="23" creationId="{2EFE9C5E-5F8C-BB3A-EBE3-AFB4E9551134}"/>
          </ac:spMkLst>
        </pc:spChg>
        <pc:spChg chg="add mod">
          <ac:chgData name="Moris Montejo" userId="55e843e1-b95f-4cc0-a457-c4d5fafa72c5" providerId="ADAL" clId="{C7B19B88-03A4-47F3-843E-E5AFCD3D7735}" dt="2023-05-04T19:51:44.529" v="1129"/>
          <ac:spMkLst>
            <pc:docMk/>
            <pc:sldMk cId="1561229640" sldId="2147469913"/>
            <ac:spMk id="25" creationId="{FD8FD76B-7DFB-41EF-530C-4A8E896DCD43}"/>
          </ac:spMkLst>
        </pc:spChg>
        <pc:spChg chg="add mod">
          <ac:chgData name="Moris Montejo" userId="55e843e1-b95f-4cc0-a457-c4d5fafa72c5" providerId="ADAL" clId="{C7B19B88-03A4-47F3-843E-E5AFCD3D7735}" dt="2023-05-04T19:51:44.529" v="1129"/>
          <ac:spMkLst>
            <pc:docMk/>
            <pc:sldMk cId="1561229640" sldId="2147469913"/>
            <ac:spMk id="26" creationId="{FEB4290C-6357-FABA-F9DB-7C8318741444}"/>
          </ac:spMkLst>
        </pc:spChg>
        <pc:spChg chg="add del mod">
          <ac:chgData name="Moris Montejo" userId="55e843e1-b95f-4cc0-a457-c4d5fafa72c5" providerId="ADAL" clId="{C7B19B88-03A4-47F3-843E-E5AFCD3D7735}" dt="2023-05-04T19:52:03.041" v="1132" actId="478"/>
          <ac:spMkLst>
            <pc:docMk/>
            <pc:sldMk cId="1561229640" sldId="2147469913"/>
            <ac:spMk id="27" creationId="{15CCCABD-F80D-AECD-0137-8FAD9C285D70}"/>
          </ac:spMkLst>
        </pc:spChg>
        <pc:spChg chg="add del mod">
          <ac:chgData name="Moris Montejo" userId="55e843e1-b95f-4cc0-a457-c4d5fafa72c5" providerId="ADAL" clId="{C7B19B88-03A4-47F3-843E-E5AFCD3D7735}" dt="2023-05-04T19:52:07.539" v="1134" actId="478"/>
          <ac:spMkLst>
            <pc:docMk/>
            <pc:sldMk cId="1561229640" sldId="2147469913"/>
            <ac:spMk id="28" creationId="{1543BA39-BE6C-9CB9-4F01-C464F2A0EE46}"/>
          </ac:spMkLst>
        </pc:spChg>
        <pc:spChg chg="add mod">
          <ac:chgData name="Moris Montejo" userId="55e843e1-b95f-4cc0-a457-c4d5fafa72c5" providerId="ADAL" clId="{C7B19B88-03A4-47F3-843E-E5AFCD3D7735}" dt="2023-05-04T19:59:08.290" v="1209" actId="1076"/>
          <ac:spMkLst>
            <pc:docMk/>
            <pc:sldMk cId="1561229640" sldId="2147469913"/>
            <ac:spMk id="30" creationId="{F0F0F355-57B9-CD8A-28AD-D530185A8629}"/>
          </ac:spMkLst>
        </pc:spChg>
        <pc:spChg chg="add mod">
          <ac:chgData name="Moris Montejo" userId="55e843e1-b95f-4cc0-a457-c4d5fafa72c5" providerId="ADAL" clId="{C7B19B88-03A4-47F3-843E-E5AFCD3D7735}" dt="2023-05-04T19:59:08.290" v="1209" actId="1076"/>
          <ac:spMkLst>
            <pc:docMk/>
            <pc:sldMk cId="1561229640" sldId="2147469913"/>
            <ac:spMk id="31" creationId="{2B742528-73E9-B51F-7FE5-E4B7AB6C1218}"/>
          </ac:spMkLst>
        </pc:spChg>
        <pc:spChg chg="add mod">
          <ac:chgData name="Moris Montejo" userId="55e843e1-b95f-4cc0-a457-c4d5fafa72c5" providerId="ADAL" clId="{C7B19B88-03A4-47F3-843E-E5AFCD3D7735}" dt="2023-05-04T19:53:24.451" v="1163" actId="1076"/>
          <ac:spMkLst>
            <pc:docMk/>
            <pc:sldMk cId="1561229640" sldId="2147469913"/>
            <ac:spMk id="32" creationId="{D776DC80-9ED6-BE9A-B901-7BF9D79E7A11}"/>
          </ac:spMkLst>
        </pc:spChg>
        <pc:spChg chg="add mod">
          <ac:chgData name="Moris Montejo" userId="55e843e1-b95f-4cc0-a457-c4d5fafa72c5" providerId="ADAL" clId="{C7B19B88-03A4-47F3-843E-E5AFCD3D7735}" dt="2023-05-04T20:00:20.981" v="1213" actId="1076"/>
          <ac:spMkLst>
            <pc:docMk/>
            <pc:sldMk cId="1561229640" sldId="2147469913"/>
            <ac:spMk id="33" creationId="{D1F7B64A-C4D1-F655-C59D-520EC357C07C}"/>
          </ac:spMkLst>
        </pc:spChg>
        <pc:spChg chg="add mod">
          <ac:chgData name="Moris Montejo" userId="55e843e1-b95f-4cc0-a457-c4d5fafa72c5" providerId="ADAL" clId="{C7B19B88-03A4-47F3-843E-E5AFCD3D7735}" dt="2023-05-04T20:00:23.167" v="1214" actId="1076"/>
          <ac:spMkLst>
            <pc:docMk/>
            <pc:sldMk cId="1561229640" sldId="2147469913"/>
            <ac:spMk id="34" creationId="{A7A34423-DC77-CDD9-CA9E-F8B0B43801C0}"/>
          </ac:spMkLst>
        </pc:spChg>
        <pc:spChg chg="add mod">
          <ac:chgData name="Moris Montejo" userId="55e843e1-b95f-4cc0-a457-c4d5fafa72c5" providerId="ADAL" clId="{C7B19B88-03A4-47F3-843E-E5AFCD3D7735}" dt="2023-05-04T19:56:32.628" v="1187" actId="1076"/>
          <ac:spMkLst>
            <pc:docMk/>
            <pc:sldMk cId="1561229640" sldId="2147469913"/>
            <ac:spMk id="35" creationId="{474F84DA-B0D8-D1AC-6D21-F1146638A99B}"/>
          </ac:spMkLst>
        </pc:spChg>
        <pc:spChg chg="add mod">
          <ac:chgData name="Moris Montejo" userId="55e843e1-b95f-4cc0-a457-c4d5fafa72c5" providerId="ADAL" clId="{C7B19B88-03A4-47F3-843E-E5AFCD3D7735}" dt="2023-05-04T19:59:04.571" v="1208" actId="1035"/>
          <ac:spMkLst>
            <pc:docMk/>
            <pc:sldMk cId="1561229640" sldId="2147469913"/>
            <ac:spMk id="36" creationId="{DCA164A7-B385-BFAA-9270-6A5F35B5C474}"/>
          </ac:spMkLst>
        </pc:spChg>
        <pc:spChg chg="add del mod">
          <ac:chgData name="Moris Montejo" userId="55e843e1-b95f-4cc0-a457-c4d5fafa72c5" providerId="ADAL" clId="{C7B19B88-03A4-47F3-843E-E5AFCD3D7735}" dt="2023-05-04T19:54:04.210" v="1175" actId="478"/>
          <ac:spMkLst>
            <pc:docMk/>
            <pc:sldMk cId="1561229640" sldId="2147469913"/>
            <ac:spMk id="37" creationId="{DCA164A7-B385-BFAA-9270-6A5F35B5C474}"/>
          </ac:spMkLst>
        </pc:spChg>
        <pc:spChg chg="add mod">
          <ac:chgData name="Moris Montejo" userId="55e843e1-b95f-4cc0-a457-c4d5fafa72c5" providerId="ADAL" clId="{C7B19B88-03A4-47F3-843E-E5AFCD3D7735}" dt="2023-05-04T19:58:59.517" v="1204" actId="1076"/>
          <ac:spMkLst>
            <pc:docMk/>
            <pc:sldMk cId="1561229640" sldId="2147469913"/>
            <ac:spMk id="38" creationId="{F1251AE1-BEE9-84E6-48EA-165157830C58}"/>
          </ac:spMkLst>
        </pc:spChg>
        <pc:grpChg chg="add del mod">
          <ac:chgData name="Moris Montejo" userId="55e843e1-b95f-4cc0-a457-c4d5fafa72c5" providerId="ADAL" clId="{C7B19B88-03A4-47F3-843E-E5AFCD3D7735}" dt="2023-05-04T19:49:46.007" v="1113" actId="478"/>
          <ac:grpSpMkLst>
            <pc:docMk/>
            <pc:sldMk cId="1561229640" sldId="2147469913"/>
            <ac:grpSpMk id="14" creationId="{1A6FE6FB-9588-B66B-5AD7-60CB5873547C}"/>
          </ac:grpSpMkLst>
        </pc:grpChg>
        <pc:grpChg chg="add mod">
          <ac:chgData name="Moris Montejo" userId="55e843e1-b95f-4cc0-a457-c4d5fafa72c5" providerId="ADAL" clId="{C7B19B88-03A4-47F3-843E-E5AFCD3D7735}" dt="2023-05-04T19:56:18.442" v="1184" actId="1076"/>
          <ac:grpSpMkLst>
            <pc:docMk/>
            <pc:sldMk cId="1561229640" sldId="2147469913"/>
            <ac:grpSpMk id="21" creationId="{6A2877C8-69C9-BBC7-4A8A-2E575433EF08}"/>
          </ac:grpSpMkLst>
        </pc:grpChg>
        <pc:grpChg chg="add mod">
          <ac:chgData name="Moris Montejo" userId="55e843e1-b95f-4cc0-a457-c4d5fafa72c5" providerId="ADAL" clId="{C7B19B88-03A4-47F3-843E-E5AFCD3D7735}" dt="2023-05-04T19:56:02.006" v="1180" actId="1076"/>
          <ac:grpSpMkLst>
            <pc:docMk/>
            <pc:sldMk cId="1561229640" sldId="2147469913"/>
            <ac:grpSpMk id="24" creationId="{405CBF0B-584D-CC8A-3DAE-D63BEE662A66}"/>
          </ac:grpSpMkLst>
        </pc:grpChg>
        <pc:grpChg chg="add mod">
          <ac:chgData name="Moris Montejo" userId="55e843e1-b95f-4cc0-a457-c4d5fafa72c5" providerId="ADAL" clId="{C7B19B88-03A4-47F3-843E-E5AFCD3D7735}" dt="2023-05-04T19:59:08.290" v="1209" actId="1076"/>
          <ac:grpSpMkLst>
            <pc:docMk/>
            <pc:sldMk cId="1561229640" sldId="2147469913"/>
            <ac:grpSpMk id="29" creationId="{378BDED1-232E-89AD-D21C-E2468274EABC}"/>
          </ac:grpSpMkLst>
        </pc:grpChg>
        <pc:picChg chg="add del mod ord">
          <ac:chgData name="Moris Montejo" userId="55e843e1-b95f-4cc0-a457-c4d5fafa72c5" providerId="ADAL" clId="{C7B19B88-03A4-47F3-843E-E5AFCD3D7735}" dt="2023-05-04T19:47:22.508" v="1066" actId="478"/>
          <ac:picMkLst>
            <pc:docMk/>
            <pc:sldMk cId="1561229640" sldId="2147469913"/>
            <ac:picMk id="5" creationId="{B78F1E6F-A7A6-79C3-261B-FA4559F6BA4E}"/>
          </ac:picMkLst>
        </pc:picChg>
        <pc:picChg chg="del">
          <ac:chgData name="Moris Montejo" userId="55e843e1-b95f-4cc0-a457-c4d5fafa72c5" providerId="ADAL" clId="{C7B19B88-03A4-47F3-843E-E5AFCD3D7735}" dt="2023-05-04T19:42:05.384" v="1055" actId="478"/>
          <ac:picMkLst>
            <pc:docMk/>
            <pc:sldMk cId="1561229640" sldId="2147469913"/>
            <ac:picMk id="7" creationId="{4F828475-E201-543E-EE7D-1FF0D086A64B}"/>
          </ac:picMkLst>
        </pc:picChg>
        <pc:picChg chg="add mod">
          <ac:chgData name="Moris Montejo" userId="55e843e1-b95f-4cc0-a457-c4d5fafa72c5" providerId="ADAL" clId="{C7B19B88-03A4-47F3-843E-E5AFCD3D7735}" dt="2023-05-04T19:57:00.766" v="1193" actId="14100"/>
          <ac:picMkLst>
            <pc:docMk/>
            <pc:sldMk cId="1561229640" sldId="2147469913"/>
            <ac:picMk id="8" creationId="{2225257B-32FE-F380-01F0-5F77D8DCEC0D}"/>
          </ac:picMkLst>
        </pc:picChg>
        <pc:picChg chg="add mod">
          <ac:chgData name="Moris Montejo" userId="55e843e1-b95f-4cc0-a457-c4d5fafa72c5" providerId="ADAL" clId="{C7B19B88-03A4-47F3-843E-E5AFCD3D7735}" dt="2023-05-04T19:56:56.895" v="1192" actId="14100"/>
          <ac:picMkLst>
            <pc:docMk/>
            <pc:sldMk cId="1561229640" sldId="2147469913"/>
            <ac:picMk id="13" creationId="{806DF106-3092-031C-2A63-CEB4CAE3F995}"/>
          </ac:picMkLst>
        </pc:picChg>
        <pc:picChg chg="add mod">
          <ac:chgData name="Moris Montejo" userId="55e843e1-b95f-4cc0-a457-c4d5fafa72c5" providerId="ADAL" clId="{C7B19B88-03A4-47F3-843E-E5AFCD3D7735}" dt="2023-05-04T19:49:22.543" v="1105"/>
          <ac:picMkLst>
            <pc:docMk/>
            <pc:sldMk cId="1561229640" sldId="2147469913"/>
            <ac:picMk id="15" creationId="{23B61937-DC05-3EA7-4F5D-B409AFD0EC3E}"/>
          </ac:picMkLst>
        </pc:picChg>
        <pc:picChg chg="add mod">
          <ac:chgData name="Moris Montejo" userId="55e843e1-b95f-4cc0-a457-c4d5fafa72c5" providerId="ADAL" clId="{C7B19B88-03A4-47F3-843E-E5AFCD3D7735}" dt="2023-05-04T19:49:09.108" v="1096" actId="1038"/>
          <ac:picMkLst>
            <pc:docMk/>
            <pc:sldMk cId="1561229640" sldId="2147469913"/>
            <ac:picMk id="1026" creationId="{A7AA2D37-7C44-0B6E-F8E1-6F29D6CFA58C}"/>
          </ac:picMkLst>
        </pc:picChg>
        <pc:picChg chg="add del">
          <ac:chgData name="Moris Montejo" userId="55e843e1-b95f-4cc0-a457-c4d5fafa72c5" providerId="ADAL" clId="{C7B19B88-03A4-47F3-843E-E5AFCD3D7735}" dt="2023-05-04T19:50:04.316" v="1117" actId="478"/>
          <ac:picMkLst>
            <pc:docMk/>
            <pc:sldMk cId="1561229640" sldId="2147469913"/>
            <ac:picMk id="1034" creationId="{662C86B6-0C3B-4C21-0E46-1AFC17FB1171}"/>
          </ac:picMkLst>
        </pc:picChg>
        <pc:picChg chg="add del">
          <ac:chgData name="Moris Montejo" userId="55e843e1-b95f-4cc0-a457-c4d5fafa72c5" providerId="ADAL" clId="{C7B19B88-03A4-47F3-843E-E5AFCD3D7735}" dt="2023-05-04T19:50:04.316" v="1117" actId="478"/>
          <ac:picMkLst>
            <pc:docMk/>
            <pc:sldMk cId="1561229640" sldId="2147469913"/>
            <ac:picMk id="1035" creationId="{22EC90C5-24B3-983B-B5FA-37AE96D4E4AC}"/>
          </ac:picMkLst>
        </pc:picChg>
        <pc:picChg chg="add del">
          <ac:chgData name="Moris Montejo" userId="55e843e1-b95f-4cc0-a457-c4d5fafa72c5" providerId="ADAL" clId="{C7B19B88-03A4-47F3-843E-E5AFCD3D7735}" dt="2023-05-04T19:50:04.316" v="1117" actId="478"/>
          <ac:picMkLst>
            <pc:docMk/>
            <pc:sldMk cId="1561229640" sldId="2147469913"/>
            <ac:picMk id="1036" creationId="{8134941C-7723-4647-83CA-227732269F53}"/>
          </ac:picMkLst>
        </pc:picChg>
        <pc:picChg chg="add del">
          <ac:chgData name="Moris Montejo" userId="55e843e1-b95f-4cc0-a457-c4d5fafa72c5" providerId="ADAL" clId="{C7B19B88-03A4-47F3-843E-E5AFCD3D7735}" dt="2023-05-04T19:50:09.789" v="1119" actId="478"/>
          <ac:picMkLst>
            <pc:docMk/>
            <pc:sldMk cId="1561229640" sldId="2147469913"/>
            <ac:picMk id="1038" creationId="{80591930-CE2C-2213-79CC-D0C6D38952F0}"/>
          </ac:picMkLst>
        </pc:picChg>
        <pc:picChg chg="add del">
          <ac:chgData name="Moris Montejo" userId="55e843e1-b95f-4cc0-a457-c4d5fafa72c5" providerId="ADAL" clId="{C7B19B88-03A4-47F3-843E-E5AFCD3D7735}" dt="2023-05-04T19:50:10.492" v="1120" actId="478"/>
          <ac:picMkLst>
            <pc:docMk/>
            <pc:sldMk cId="1561229640" sldId="2147469913"/>
            <ac:picMk id="1039" creationId="{65A663BD-4048-11AB-6559-2414A7A24B5C}"/>
          </ac:picMkLst>
        </pc:picChg>
        <pc:picChg chg="add del">
          <ac:chgData name="Moris Montejo" userId="55e843e1-b95f-4cc0-a457-c4d5fafa72c5" providerId="ADAL" clId="{C7B19B88-03A4-47F3-843E-E5AFCD3D7735}" dt="2023-05-04T19:50:11.582" v="1121" actId="478"/>
          <ac:picMkLst>
            <pc:docMk/>
            <pc:sldMk cId="1561229640" sldId="2147469913"/>
            <ac:picMk id="1040" creationId="{43BCBD53-9255-06FB-30D9-35986EEEED9B}"/>
          </ac:picMkLst>
        </pc:picChg>
        <pc:picChg chg="add del">
          <ac:chgData name="Moris Montejo" userId="55e843e1-b95f-4cc0-a457-c4d5fafa72c5" providerId="ADAL" clId="{C7B19B88-03A4-47F3-843E-E5AFCD3D7735}" dt="2023-05-04T19:50:55.721" v="1123"/>
          <ac:picMkLst>
            <pc:docMk/>
            <pc:sldMk cId="1561229640" sldId="2147469913"/>
            <ac:picMk id="1042" creationId="{41B6747D-5194-87E3-E815-0C6D6A21330F}"/>
          </ac:picMkLst>
        </pc:picChg>
        <pc:picChg chg="add del">
          <ac:chgData name="Moris Montejo" userId="55e843e1-b95f-4cc0-a457-c4d5fafa72c5" providerId="ADAL" clId="{C7B19B88-03A4-47F3-843E-E5AFCD3D7735}" dt="2023-05-04T19:50:55.721" v="1123"/>
          <ac:picMkLst>
            <pc:docMk/>
            <pc:sldMk cId="1561229640" sldId="2147469913"/>
            <ac:picMk id="1043" creationId="{A8E28710-A2EA-857B-4F37-B322F4D130FA}"/>
          </ac:picMkLst>
        </pc:picChg>
        <pc:picChg chg="add del">
          <ac:chgData name="Moris Montejo" userId="55e843e1-b95f-4cc0-a457-c4d5fafa72c5" providerId="ADAL" clId="{C7B19B88-03A4-47F3-843E-E5AFCD3D7735}" dt="2023-05-04T19:50:55.721" v="1123"/>
          <ac:picMkLst>
            <pc:docMk/>
            <pc:sldMk cId="1561229640" sldId="2147469913"/>
            <ac:picMk id="1044" creationId="{6CCAF574-6F4B-4E83-CA9B-7D1EA038C7C8}"/>
          </ac:picMkLst>
        </pc:picChg>
      </pc:sldChg>
      <pc:sldChg chg="addSp delSp modSp add mod modAnim">
        <pc:chgData name="Moris Montejo" userId="55e843e1-b95f-4cc0-a457-c4d5fafa72c5" providerId="ADAL" clId="{C7B19B88-03A4-47F3-843E-E5AFCD3D7735}" dt="2023-05-04T20:09:59.602" v="1829" actId="122"/>
        <pc:sldMkLst>
          <pc:docMk/>
          <pc:sldMk cId="2393136020" sldId="2147469914"/>
        </pc:sldMkLst>
        <pc:spChg chg="mod">
          <ac:chgData name="Moris Montejo" userId="55e843e1-b95f-4cc0-a457-c4d5fafa72c5" providerId="ADAL" clId="{C7B19B88-03A4-47F3-843E-E5AFCD3D7735}" dt="2023-05-04T20:02:50.108" v="1280" actId="20577"/>
          <ac:spMkLst>
            <pc:docMk/>
            <pc:sldMk cId="2393136020" sldId="2147469914"/>
            <ac:spMk id="3" creationId="{00000000-0000-0000-0000-000000000000}"/>
          </ac:spMkLst>
        </pc:spChg>
        <pc:spChg chg="mod">
          <ac:chgData name="Moris Montejo" userId="55e843e1-b95f-4cc0-a457-c4d5fafa72c5" providerId="ADAL" clId="{C7B19B88-03A4-47F3-843E-E5AFCD3D7735}" dt="2023-05-04T20:05:31.890" v="1660" actId="12"/>
          <ac:spMkLst>
            <pc:docMk/>
            <pc:sldMk cId="2393136020" sldId="2147469914"/>
            <ac:spMk id="9" creationId="{6C1E1E07-1B82-4103-9DE9-6A87FA94B4CF}"/>
          </ac:spMkLst>
        </pc:spChg>
        <pc:graphicFrameChg chg="add mod modGraphic">
          <ac:chgData name="Moris Montejo" userId="55e843e1-b95f-4cc0-a457-c4d5fafa72c5" providerId="ADAL" clId="{C7B19B88-03A4-47F3-843E-E5AFCD3D7735}" dt="2023-05-04T20:09:59.602" v="1829" actId="122"/>
          <ac:graphicFrameMkLst>
            <pc:docMk/>
            <pc:sldMk cId="2393136020" sldId="2147469914"/>
            <ac:graphicFrameMk id="4" creationId="{B8892D38-01C4-4EDE-5F12-A2F0B3100714}"/>
          </ac:graphicFrameMkLst>
        </pc:graphicFrameChg>
        <pc:picChg chg="del">
          <ac:chgData name="Moris Montejo" userId="55e843e1-b95f-4cc0-a457-c4d5fafa72c5" providerId="ADAL" clId="{C7B19B88-03A4-47F3-843E-E5AFCD3D7735}" dt="2023-05-04T20:04:20.408" v="1532" actId="478"/>
          <ac:picMkLst>
            <pc:docMk/>
            <pc:sldMk cId="2393136020" sldId="2147469914"/>
            <ac:picMk id="7" creationId="{4F828475-E201-543E-EE7D-1FF0D086A64B}"/>
          </ac:picMkLst>
        </pc:picChg>
      </pc:sldChg>
      <pc:sldChg chg="addSp delSp modSp add mod modAnim modNotesTx">
        <pc:chgData name="Moris Montejo" userId="55e843e1-b95f-4cc0-a457-c4d5fafa72c5" providerId="ADAL" clId="{C7B19B88-03A4-47F3-843E-E5AFCD3D7735}" dt="2023-05-04T21:40:30.092" v="3497" actId="20577"/>
        <pc:sldMkLst>
          <pc:docMk/>
          <pc:sldMk cId="1923822283" sldId="2147469915"/>
        </pc:sldMkLst>
        <pc:spChg chg="mod">
          <ac:chgData name="Moris Montejo" userId="55e843e1-b95f-4cc0-a457-c4d5fafa72c5" providerId="ADAL" clId="{C7B19B88-03A4-47F3-843E-E5AFCD3D7735}" dt="2023-05-04T20:13:01.746" v="1868" actId="20577"/>
          <ac:spMkLst>
            <pc:docMk/>
            <pc:sldMk cId="1923822283" sldId="2147469915"/>
            <ac:spMk id="3" creationId="{00000000-0000-0000-0000-000000000000}"/>
          </ac:spMkLst>
        </pc:spChg>
        <pc:spChg chg="mod">
          <ac:chgData name="Moris Montejo" userId="55e843e1-b95f-4cc0-a457-c4d5fafa72c5" providerId="ADAL" clId="{C7B19B88-03A4-47F3-843E-E5AFCD3D7735}" dt="2023-05-04T21:40:30.092" v="3497" actId="20577"/>
          <ac:spMkLst>
            <pc:docMk/>
            <pc:sldMk cId="1923822283" sldId="2147469915"/>
            <ac:spMk id="9" creationId="{6C1E1E07-1B82-4103-9DE9-6A87FA94B4CF}"/>
          </ac:spMkLst>
        </pc:spChg>
        <pc:graphicFrameChg chg="del">
          <ac:chgData name="Moris Montejo" userId="55e843e1-b95f-4cc0-a457-c4d5fafa72c5" providerId="ADAL" clId="{C7B19B88-03A4-47F3-843E-E5AFCD3D7735}" dt="2023-05-04T20:17:13.543" v="1871" actId="478"/>
          <ac:graphicFrameMkLst>
            <pc:docMk/>
            <pc:sldMk cId="1923822283" sldId="2147469915"/>
            <ac:graphicFrameMk id="4" creationId="{B8892D38-01C4-4EDE-5F12-A2F0B3100714}"/>
          </ac:graphicFrameMkLst>
        </pc:graphicFrameChg>
        <pc:graphicFrameChg chg="add del mod modGraphic">
          <ac:chgData name="Moris Montejo" userId="55e843e1-b95f-4cc0-a457-c4d5fafa72c5" providerId="ADAL" clId="{C7B19B88-03A4-47F3-843E-E5AFCD3D7735}" dt="2023-05-04T20:21:05.555" v="1961" actId="478"/>
          <ac:graphicFrameMkLst>
            <pc:docMk/>
            <pc:sldMk cId="1923822283" sldId="2147469915"/>
            <ac:graphicFrameMk id="5" creationId="{248BB39B-49C2-17EE-45EF-728BD5521EBA}"/>
          </ac:graphicFrameMkLst>
        </pc:graphicFrameChg>
      </pc:sldChg>
      <pc:sldChg chg="addSp modSp add del mod modAnim">
        <pc:chgData name="Moris Montejo" userId="55e843e1-b95f-4cc0-a457-c4d5fafa72c5" providerId="ADAL" clId="{C7B19B88-03A4-47F3-843E-E5AFCD3D7735}" dt="2023-05-04T20:42:00.439" v="2446" actId="2696"/>
        <pc:sldMkLst>
          <pc:docMk/>
          <pc:sldMk cId="323807652" sldId="2147469916"/>
        </pc:sldMkLst>
        <pc:spChg chg="mod">
          <ac:chgData name="Moris Montejo" userId="55e843e1-b95f-4cc0-a457-c4d5fafa72c5" providerId="ADAL" clId="{C7B19B88-03A4-47F3-843E-E5AFCD3D7735}" dt="2023-05-04T20:32:48.971" v="2353" actId="20577"/>
          <ac:spMkLst>
            <pc:docMk/>
            <pc:sldMk cId="323807652" sldId="2147469916"/>
            <ac:spMk id="3" creationId="{00000000-0000-0000-0000-000000000000}"/>
          </ac:spMkLst>
        </pc:spChg>
        <pc:spChg chg="add mod">
          <ac:chgData name="Moris Montejo" userId="55e843e1-b95f-4cc0-a457-c4d5fafa72c5" providerId="ADAL" clId="{C7B19B88-03A4-47F3-843E-E5AFCD3D7735}" dt="2023-05-04T20:34:04.066" v="2359" actId="1076"/>
          <ac:spMkLst>
            <pc:docMk/>
            <pc:sldMk cId="323807652" sldId="2147469916"/>
            <ac:spMk id="5" creationId="{D645AD7D-74E4-CA36-89D8-7761D5352032}"/>
          </ac:spMkLst>
        </pc:spChg>
        <pc:spChg chg="mod">
          <ac:chgData name="Moris Montejo" userId="55e843e1-b95f-4cc0-a457-c4d5fafa72c5" providerId="ADAL" clId="{C7B19B88-03A4-47F3-843E-E5AFCD3D7735}" dt="2023-05-04T20:37:34.870" v="2443" actId="20577"/>
          <ac:spMkLst>
            <pc:docMk/>
            <pc:sldMk cId="323807652" sldId="2147469916"/>
            <ac:spMk id="9" creationId="{6C1E1E07-1B82-4103-9DE9-6A87FA94B4CF}"/>
          </ac:spMkLst>
        </pc:spChg>
      </pc:sldChg>
      <pc:sldChg chg="new del">
        <pc:chgData name="Moris Montejo" userId="55e843e1-b95f-4cc0-a457-c4d5fafa72c5" providerId="ADAL" clId="{C7B19B88-03A4-47F3-843E-E5AFCD3D7735}" dt="2023-05-04T20:41:46.766" v="2445" actId="47"/>
        <pc:sldMkLst>
          <pc:docMk/>
          <pc:sldMk cId="2581244092" sldId="2147469917"/>
        </pc:sldMkLst>
      </pc:sldChg>
      <pc:sldChg chg="modSp del mod">
        <pc:chgData name="Moris Montejo" userId="55e843e1-b95f-4cc0-a457-c4d5fafa72c5" providerId="ADAL" clId="{C7B19B88-03A4-47F3-843E-E5AFCD3D7735}" dt="2023-05-04T20:58:53.895" v="3171" actId="2696"/>
        <pc:sldMkLst>
          <pc:docMk/>
          <pc:sldMk cId="2706994103" sldId="2147469918"/>
        </pc:sldMkLst>
        <pc:spChg chg="mod">
          <ac:chgData name="Moris Montejo" userId="55e843e1-b95f-4cc0-a457-c4d5fafa72c5" providerId="ADAL" clId="{C7B19B88-03A4-47F3-843E-E5AFCD3D7735}" dt="2023-05-04T20:42:14.473" v="2458" actId="20577"/>
          <ac:spMkLst>
            <pc:docMk/>
            <pc:sldMk cId="2706994103" sldId="2147469918"/>
            <ac:spMk id="2" creationId="{00000000-0000-0000-0000-000000000000}"/>
          </ac:spMkLst>
        </pc:spChg>
        <pc:spChg chg="mod">
          <ac:chgData name="Moris Montejo" userId="55e843e1-b95f-4cc0-a457-c4d5fafa72c5" providerId="ADAL" clId="{C7B19B88-03A4-47F3-843E-E5AFCD3D7735}" dt="2023-05-04T20:57:31.639" v="3160" actId="255"/>
          <ac:spMkLst>
            <pc:docMk/>
            <pc:sldMk cId="2706994103" sldId="2147469918"/>
            <ac:spMk id="16" creationId="{D49B8F0F-1F7F-4B59-B53E-DF99F8295343}"/>
          </ac:spMkLst>
        </pc:spChg>
        <pc:grpChg chg="mod">
          <ac:chgData name="Moris Montejo" userId="55e843e1-b95f-4cc0-a457-c4d5fafa72c5" providerId="ADAL" clId="{C7B19B88-03A4-47F3-843E-E5AFCD3D7735}" dt="2023-05-04T20:56:14.660" v="3156" actId="1037"/>
          <ac:grpSpMkLst>
            <pc:docMk/>
            <pc:sldMk cId="2706994103" sldId="2147469918"/>
            <ac:grpSpMk id="15" creationId="{A32F9CFA-C507-48FE-A52A-AC6FB577A654}"/>
          </ac:grpSpMkLst>
        </pc:grpChg>
      </pc:sldChg>
      <pc:sldChg chg="addSp delSp modSp del mod">
        <pc:chgData name="Moris Montejo" userId="55e843e1-b95f-4cc0-a457-c4d5fafa72c5" providerId="ADAL" clId="{C7B19B88-03A4-47F3-843E-E5AFCD3D7735}" dt="2023-05-04T20:58:53.895" v="3171" actId="2696"/>
        <pc:sldMkLst>
          <pc:docMk/>
          <pc:sldMk cId="846202530" sldId="2147469919"/>
        </pc:sldMkLst>
        <pc:spChg chg="mod">
          <ac:chgData name="Moris Montejo" userId="55e843e1-b95f-4cc0-a457-c4d5fafa72c5" providerId="ADAL" clId="{C7B19B88-03A4-47F3-843E-E5AFCD3D7735}" dt="2023-05-04T20:42:19.853" v="2459"/>
          <ac:spMkLst>
            <pc:docMk/>
            <pc:sldMk cId="846202530" sldId="2147469919"/>
            <ac:spMk id="2" creationId="{00000000-0000-0000-0000-000000000000}"/>
          </ac:spMkLst>
        </pc:spChg>
        <pc:spChg chg="add del mod">
          <ac:chgData name="Moris Montejo" userId="55e843e1-b95f-4cc0-a457-c4d5fafa72c5" providerId="ADAL" clId="{C7B19B88-03A4-47F3-843E-E5AFCD3D7735}" dt="2023-05-04T20:43:37.913" v="2540"/>
          <ac:spMkLst>
            <pc:docMk/>
            <pc:sldMk cId="846202530" sldId="2147469919"/>
            <ac:spMk id="4" creationId="{344E6B9C-EF53-B350-2715-99D58483F534}"/>
          </ac:spMkLst>
        </pc:spChg>
        <pc:spChg chg="add mod">
          <ac:chgData name="Moris Montejo" userId="55e843e1-b95f-4cc0-a457-c4d5fafa72c5" providerId="ADAL" clId="{C7B19B88-03A4-47F3-843E-E5AFCD3D7735}" dt="2023-05-04T20:54:51.465" v="3110" actId="1076"/>
          <ac:spMkLst>
            <pc:docMk/>
            <pc:sldMk cId="846202530" sldId="2147469919"/>
            <ac:spMk id="5" creationId="{7A981BF8-6856-5F0E-56A4-EC0307B6FCF6}"/>
          </ac:spMkLst>
        </pc:spChg>
        <pc:spChg chg="del topLvl">
          <ac:chgData name="Moris Montejo" userId="55e843e1-b95f-4cc0-a457-c4d5fafa72c5" providerId="ADAL" clId="{C7B19B88-03A4-47F3-843E-E5AFCD3D7735}" dt="2023-05-04T20:43:42.089" v="2541" actId="478"/>
          <ac:spMkLst>
            <pc:docMk/>
            <pc:sldMk cId="846202530" sldId="2147469919"/>
            <ac:spMk id="16" creationId="{D49B8F0F-1F7F-4B59-B53E-DF99F8295343}"/>
          </ac:spMkLst>
        </pc:spChg>
        <pc:spChg chg="mod">
          <ac:chgData name="Moris Montejo" userId="55e843e1-b95f-4cc0-a457-c4d5fafa72c5" providerId="ADAL" clId="{C7B19B88-03A4-47F3-843E-E5AFCD3D7735}" dt="2023-05-04T20:44:50.616" v="2708" actId="20577"/>
          <ac:spMkLst>
            <pc:docMk/>
            <pc:sldMk cId="846202530" sldId="2147469919"/>
            <ac:spMk id="27" creationId="{E84D81DF-B523-451B-846C-EDC559C8E170}"/>
          </ac:spMkLst>
        </pc:spChg>
        <pc:grpChg chg="add mod">
          <ac:chgData name="Moris Montejo" userId="55e843e1-b95f-4cc0-a457-c4d5fafa72c5" providerId="ADAL" clId="{C7B19B88-03A4-47F3-843E-E5AFCD3D7735}" dt="2023-05-04T20:55:55.610" v="3139" actId="1037"/>
          <ac:grpSpMkLst>
            <pc:docMk/>
            <pc:sldMk cId="846202530" sldId="2147469919"/>
            <ac:grpSpMk id="6" creationId="{79AD8755-CD44-C296-4C45-FE677049781D}"/>
          </ac:grpSpMkLst>
        </pc:grpChg>
        <pc:grpChg chg="del">
          <ac:chgData name="Moris Montejo" userId="55e843e1-b95f-4cc0-a457-c4d5fafa72c5" providerId="ADAL" clId="{C7B19B88-03A4-47F3-843E-E5AFCD3D7735}" dt="2023-05-04T20:43:42.089" v="2541" actId="478"/>
          <ac:grpSpMkLst>
            <pc:docMk/>
            <pc:sldMk cId="846202530" sldId="2147469919"/>
            <ac:grpSpMk id="15" creationId="{A32F9CFA-C507-48FE-A52A-AC6FB577A654}"/>
          </ac:grpSpMkLst>
        </pc:grpChg>
        <pc:grpChg chg="topLvl">
          <ac:chgData name="Moris Montejo" userId="55e843e1-b95f-4cc0-a457-c4d5fafa72c5" providerId="ADAL" clId="{C7B19B88-03A4-47F3-843E-E5AFCD3D7735}" dt="2023-05-04T20:43:42.089" v="2541" actId="478"/>
          <ac:grpSpMkLst>
            <pc:docMk/>
            <pc:sldMk cId="846202530" sldId="2147469919"/>
            <ac:grpSpMk id="17" creationId="{9C875678-C835-48EE-B691-72E07451AA18}"/>
          </ac:grpSpMkLst>
        </pc:grpChg>
        <pc:grpChg chg="mod">
          <ac:chgData name="Moris Montejo" userId="55e843e1-b95f-4cc0-a457-c4d5fafa72c5" providerId="ADAL" clId="{C7B19B88-03A4-47F3-843E-E5AFCD3D7735}" dt="2023-05-04T20:55:52.553" v="3128" actId="1076"/>
          <ac:grpSpMkLst>
            <pc:docMk/>
            <pc:sldMk cId="846202530" sldId="2147469919"/>
            <ac:grpSpMk id="26" creationId="{986256A6-BC67-4D48-9FD6-19D46B73975F}"/>
          </ac:grpSpMkLst>
        </pc:grpChg>
      </pc:sldChg>
      <pc:sldChg chg="addSp delSp modSp del mod delAnim">
        <pc:chgData name="Moris Montejo" userId="55e843e1-b95f-4cc0-a457-c4d5fafa72c5" providerId="ADAL" clId="{C7B19B88-03A4-47F3-843E-E5AFCD3D7735}" dt="2023-05-04T21:34:14.018" v="3457" actId="47"/>
        <pc:sldMkLst>
          <pc:docMk/>
          <pc:sldMk cId="4228431221" sldId="2147469920"/>
        </pc:sldMkLst>
        <pc:spChg chg="mod">
          <ac:chgData name="Moris Montejo" userId="55e843e1-b95f-4cc0-a457-c4d5fafa72c5" providerId="ADAL" clId="{C7B19B88-03A4-47F3-843E-E5AFCD3D7735}" dt="2023-05-04T20:42:24.387" v="2460"/>
          <ac:spMkLst>
            <pc:docMk/>
            <pc:sldMk cId="4228431221" sldId="2147469920"/>
            <ac:spMk id="2" creationId="{00000000-0000-0000-0000-000000000000}"/>
          </ac:spMkLst>
        </pc:spChg>
        <pc:spChg chg="mod">
          <ac:chgData name="Moris Montejo" userId="55e843e1-b95f-4cc0-a457-c4d5fafa72c5" providerId="ADAL" clId="{C7B19B88-03A4-47F3-843E-E5AFCD3D7735}" dt="2023-05-04T20:48:52.123" v="2994" actId="255"/>
          <ac:spMkLst>
            <pc:docMk/>
            <pc:sldMk cId="4228431221" sldId="2147469920"/>
            <ac:spMk id="6" creationId="{2029175F-9C15-B841-061D-D345BC51A931}"/>
          </ac:spMkLst>
        </pc:spChg>
        <pc:spChg chg="mod">
          <ac:chgData name="Moris Montejo" userId="55e843e1-b95f-4cc0-a457-c4d5fafa72c5" providerId="ADAL" clId="{C7B19B88-03A4-47F3-843E-E5AFCD3D7735}" dt="2023-05-04T20:48:36.499" v="2991" actId="255"/>
          <ac:spMkLst>
            <pc:docMk/>
            <pc:sldMk cId="4228431221" sldId="2147469920"/>
            <ac:spMk id="16" creationId="{D49B8F0F-1F7F-4B59-B53E-DF99F8295343}"/>
          </ac:spMkLst>
        </pc:spChg>
        <pc:spChg chg="mod">
          <ac:chgData name="Moris Montejo" userId="55e843e1-b95f-4cc0-a457-c4d5fafa72c5" providerId="ADAL" clId="{C7B19B88-03A4-47F3-843E-E5AFCD3D7735}" dt="2023-05-04T20:46:54.550" v="2870"/>
          <ac:spMkLst>
            <pc:docMk/>
            <pc:sldMk cId="4228431221" sldId="2147469920"/>
            <ac:spMk id="21" creationId="{8BFCD590-5CC7-638F-091B-EE6C4A2D695F}"/>
          </ac:spMkLst>
        </pc:spChg>
        <pc:spChg chg="mod">
          <ac:chgData name="Moris Montejo" userId="55e843e1-b95f-4cc0-a457-c4d5fafa72c5" providerId="ADAL" clId="{C7B19B88-03A4-47F3-843E-E5AFCD3D7735}" dt="2023-05-04T20:48:46.217" v="2993" actId="255"/>
          <ac:spMkLst>
            <pc:docMk/>
            <pc:sldMk cId="4228431221" sldId="2147469920"/>
            <ac:spMk id="24" creationId="{79475ECA-8801-49F7-930D-0DC517F2EC01}"/>
          </ac:spMkLst>
        </pc:spChg>
        <pc:spChg chg="add del mod topLvl">
          <ac:chgData name="Moris Montejo" userId="55e843e1-b95f-4cc0-a457-c4d5fafa72c5" providerId="ADAL" clId="{C7B19B88-03A4-47F3-843E-E5AFCD3D7735}" dt="2023-05-04T20:48:41.422" v="2992" actId="255"/>
          <ac:spMkLst>
            <pc:docMk/>
            <pc:sldMk cId="4228431221" sldId="2147469920"/>
            <ac:spMk id="27" creationId="{E84D81DF-B523-451B-846C-EDC559C8E170}"/>
          </ac:spMkLst>
        </pc:spChg>
        <pc:spChg chg="mod">
          <ac:chgData name="Moris Montejo" userId="55e843e1-b95f-4cc0-a457-c4d5fafa72c5" providerId="ADAL" clId="{C7B19B88-03A4-47F3-843E-E5AFCD3D7735}" dt="2023-05-04T20:46:54.550" v="2870"/>
          <ac:spMkLst>
            <pc:docMk/>
            <pc:sldMk cId="4228431221" sldId="2147469920"/>
            <ac:spMk id="36" creationId="{24FB2908-40B5-6C7E-01C9-1911A2C1787A}"/>
          </ac:spMkLst>
        </pc:spChg>
        <pc:spChg chg="mod">
          <ac:chgData name="Moris Montejo" userId="55e843e1-b95f-4cc0-a457-c4d5fafa72c5" providerId="ADAL" clId="{C7B19B88-03A4-47F3-843E-E5AFCD3D7735}" dt="2023-05-04T20:49:22.682" v="3001" actId="313"/>
          <ac:spMkLst>
            <pc:docMk/>
            <pc:sldMk cId="4228431221" sldId="2147469920"/>
            <ac:spMk id="39" creationId="{2EA3D27A-D0D4-7DEE-28D5-ABAE38CCF3B7}"/>
          </ac:spMkLst>
        </pc:spChg>
        <pc:spChg chg="mod">
          <ac:chgData name="Moris Montejo" userId="55e843e1-b95f-4cc0-a457-c4d5fafa72c5" providerId="ADAL" clId="{C7B19B88-03A4-47F3-843E-E5AFCD3D7735}" dt="2023-05-04T20:47:24.562" v="2877"/>
          <ac:spMkLst>
            <pc:docMk/>
            <pc:sldMk cId="4228431221" sldId="2147469920"/>
            <ac:spMk id="41" creationId="{5D0CE773-70C4-0FBB-82D0-EB40D0E3B544}"/>
          </ac:spMkLst>
        </pc:spChg>
        <pc:spChg chg="mod">
          <ac:chgData name="Moris Montejo" userId="55e843e1-b95f-4cc0-a457-c4d5fafa72c5" providerId="ADAL" clId="{C7B19B88-03A4-47F3-843E-E5AFCD3D7735}" dt="2023-05-04T20:47:24.562" v="2877"/>
          <ac:spMkLst>
            <pc:docMk/>
            <pc:sldMk cId="4228431221" sldId="2147469920"/>
            <ac:spMk id="42" creationId="{F426636D-F3FF-FFD7-6E6B-D27B3D3A72A9}"/>
          </ac:spMkLst>
        </pc:spChg>
        <pc:spChg chg="mod">
          <ac:chgData name="Moris Montejo" userId="55e843e1-b95f-4cc0-a457-c4d5fafa72c5" providerId="ADAL" clId="{C7B19B88-03A4-47F3-843E-E5AFCD3D7735}" dt="2023-05-04T20:50:04.821" v="3092" actId="20577"/>
          <ac:spMkLst>
            <pc:docMk/>
            <pc:sldMk cId="4228431221" sldId="2147469920"/>
            <ac:spMk id="44" creationId="{17F97D6C-5F9A-A39F-290D-2A5FA827169A}"/>
          </ac:spMkLst>
        </pc:spChg>
        <pc:spChg chg="mod">
          <ac:chgData name="Moris Montejo" userId="55e843e1-b95f-4cc0-a457-c4d5fafa72c5" providerId="ADAL" clId="{C7B19B88-03A4-47F3-843E-E5AFCD3D7735}" dt="2023-05-04T20:49:32.364" v="3005" actId="20577"/>
          <ac:spMkLst>
            <pc:docMk/>
            <pc:sldMk cId="4228431221" sldId="2147469920"/>
            <ac:spMk id="46" creationId="{912B3D73-1E65-45A2-3115-4D82F66935C3}"/>
          </ac:spMkLst>
        </pc:spChg>
        <pc:spChg chg="mod">
          <ac:chgData name="Moris Montejo" userId="55e843e1-b95f-4cc0-a457-c4d5fafa72c5" providerId="ADAL" clId="{C7B19B88-03A4-47F3-843E-E5AFCD3D7735}" dt="2023-05-04T20:49:26.738" v="3002"/>
          <ac:spMkLst>
            <pc:docMk/>
            <pc:sldMk cId="4228431221" sldId="2147469920"/>
            <ac:spMk id="47" creationId="{47D642DA-D5C1-9C2E-18EE-DE0C2054F3D6}"/>
          </ac:spMkLst>
        </pc:spChg>
        <pc:spChg chg="mod">
          <ac:chgData name="Moris Montejo" userId="55e843e1-b95f-4cc0-a457-c4d5fafa72c5" providerId="ADAL" clId="{C7B19B88-03A4-47F3-843E-E5AFCD3D7735}" dt="2023-05-04T20:58:24.272" v="3168"/>
          <ac:spMkLst>
            <pc:docMk/>
            <pc:sldMk cId="4228431221" sldId="2147469920"/>
            <ac:spMk id="51" creationId="{935EF5CF-7F22-F95E-2E1D-8052A0AFBA9C}"/>
          </ac:spMkLst>
        </pc:spChg>
        <pc:spChg chg="mod">
          <ac:chgData name="Moris Montejo" userId="55e843e1-b95f-4cc0-a457-c4d5fafa72c5" providerId="ADAL" clId="{C7B19B88-03A4-47F3-843E-E5AFCD3D7735}" dt="2023-05-04T20:58:24.272" v="3168"/>
          <ac:spMkLst>
            <pc:docMk/>
            <pc:sldMk cId="4228431221" sldId="2147469920"/>
            <ac:spMk id="55" creationId="{D13A98C7-86C9-11C2-BC2E-D58C83D2733B}"/>
          </ac:spMkLst>
        </pc:spChg>
        <pc:spChg chg="mod">
          <ac:chgData name="Moris Montejo" userId="55e843e1-b95f-4cc0-a457-c4d5fafa72c5" providerId="ADAL" clId="{C7B19B88-03A4-47F3-843E-E5AFCD3D7735}" dt="2023-05-04T20:58:24.272" v="3168"/>
          <ac:spMkLst>
            <pc:docMk/>
            <pc:sldMk cId="4228431221" sldId="2147469920"/>
            <ac:spMk id="59" creationId="{C385247A-1D45-5AFA-982E-4B26CE119942}"/>
          </ac:spMkLst>
        </pc:spChg>
        <pc:spChg chg="mod">
          <ac:chgData name="Moris Montejo" userId="55e843e1-b95f-4cc0-a457-c4d5fafa72c5" providerId="ADAL" clId="{C7B19B88-03A4-47F3-843E-E5AFCD3D7735}" dt="2023-05-04T20:58:24.272" v="3168"/>
          <ac:spMkLst>
            <pc:docMk/>
            <pc:sldMk cId="4228431221" sldId="2147469920"/>
            <ac:spMk id="63" creationId="{2DC01978-0DEE-7789-F0AB-3519A5A60D6B}"/>
          </ac:spMkLst>
        </pc:spChg>
        <pc:spChg chg="mod">
          <ac:chgData name="Moris Montejo" userId="55e843e1-b95f-4cc0-a457-c4d5fafa72c5" providerId="ADAL" clId="{C7B19B88-03A4-47F3-843E-E5AFCD3D7735}" dt="2023-05-04T20:58:24.272" v="3168"/>
          <ac:spMkLst>
            <pc:docMk/>
            <pc:sldMk cId="4228431221" sldId="2147469920"/>
            <ac:spMk id="67" creationId="{F36FD7E0-6EEF-05B4-1355-05173DD53F12}"/>
          </ac:spMkLst>
        </pc:spChg>
        <pc:grpChg chg="add mod">
          <ac:chgData name="Moris Montejo" userId="55e843e1-b95f-4cc0-a457-c4d5fafa72c5" providerId="ADAL" clId="{C7B19B88-03A4-47F3-843E-E5AFCD3D7735}" dt="2023-05-04T20:49:14.860" v="2999" actId="1076"/>
          <ac:grpSpMkLst>
            <pc:docMk/>
            <pc:sldMk cId="4228431221" sldId="2147469920"/>
            <ac:grpSpMk id="4" creationId="{01EC8050-95F2-2AD2-6542-9E5440D0AA9D}"/>
          </ac:grpSpMkLst>
        </pc:grpChg>
        <pc:grpChg chg="del">
          <ac:chgData name="Moris Montejo" userId="55e843e1-b95f-4cc0-a457-c4d5fafa72c5" providerId="ADAL" clId="{C7B19B88-03A4-47F3-843E-E5AFCD3D7735}" dt="2023-05-04T20:58:20.870" v="3164" actId="478"/>
          <ac:grpSpMkLst>
            <pc:docMk/>
            <pc:sldMk cId="4228431221" sldId="2147469920"/>
            <ac:grpSpMk id="7" creationId="{1D8A0069-DBAF-4262-9BB2-9C45C71E20D4}"/>
          </ac:grpSpMkLst>
        </pc:grpChg>
        <pc:grpChg chg="mod">
          <ac:chgData name="Moris Montejo" userId="55e843e1-b95f-4cc0-a457-c4d5fafa72c5" providerId="ADAL" clId="{C7B19B88-03A4-47F3-843E-E5AFCD3D7735}" dt="2023-05-04T20:46:54.550" v="2870"/>
          <ac:grpSpMkLst>
            <pc:docMk/>
            <pc:sldMk cId="4228431221" sldId="2147469920"/>
            <ac:grpSpMk id="13" creationId="{14C1527C-DD16-1A11-7516-B0DE0178676F}"/>
          </ac:grpSpMkLst>
        </pc:grpChg>
        <pc:grpChg chg="del">
          <ac:chgData name="Moris Montejo" userId="55e843e1-b95f-4cc0-a457-c4d5fafa72c5" providerId="ADAL" clId="{C7B19B88-03A4-47F3-843E-E5AFCD3D7735}" dt="2023-05-04T20:58:20.075" v="3163" actId="478"/>
          <ac:grpSpMkLst>
            <pc:docMk/>
            <pc:sldMk cId="4228431221" sldId="2147469920"/>
            <ac:grpSpMk id="14" creationId="{715009B9-F20A-43A1-8E81-F3973D784939}"/>
          </ac:grpSpMkLst>
        </pc:grpChg>
        <pc:grpChg chg="add del mod">
          <ac:chgData name="Moris Montejo" userId="55e843e1-b95f-4cc0-a457-c4d5fafa72c5" providerId="ADAL" clId="{C7B19B88-03A4-47F3-843E-E5AFCD3D7735}" dt="2023-05-04T20:49:03.214" v="2996" actId="1076"/>
          <ac:grpSpMkLst>
            <pc:docMk/>
            <pc:sldMk cId="4228431221" sldId="2147469920"/>
            <ac:grpSpMk id="15" creationId="{A32F9CFA-C507-48FE-A52A-AC6FB577A654}"/>
          </ac:grpSpMkLst>
        </pc:grpChg>
        <pc:grpChg chg="mod">
          <ac:chgData name="Moris Montejo" userId="55e843e1-b95f-4cc0-a457-c4d5fafa72c5" providerId="ADAL" clId="{C7B19B88-03A4-47F3-843E-E5AFCD3D7735}" dt="2023-05-04T20:49:09.614" v="2998" actId="1076"/>
          <ac:grpSpMkLst>
            <pc:docMk/>
            <pc:sldMk cId="4228431221" sldId="2147469920"/>
            <ac:grpSpMk id="23" creationId="{49BB6552-08F9-4DB7-8068-57DB8F98D4B4}"/>
          </ac:grpSpMkLst>
        </pc:grpChg>
        <pc:grpChg chg="add del mod">
          <ac:chgData name="Moris Montejo" userId="55e843e1-b95f-4cc0-a457-c4d5fafa72c5" providerId="ADAL" clId="{C7B19B88-03A4-47F3-843E-E5AFCD3D7735}" dt="2023-05-04T20:49:06.691" v="2997" actId="1076"/>
          <ac:grpSpMkLst>
            <pc:docMk/>
            <pc:sldMk cId="4228431221" sldId="2147469920"/>
            <ac:grpSpMk id="26" creationId="{986256A6-BC67-4D48-9FD6-19D46B73975F}"/>
          </ac:grpSpMkLst>
        </pc:grpChg>
        <pc:grpChg chg="mod topLvl">
          <ac:chgData name="Moris Montejo" userId="55e843e1-b95f-4cc0-a457-c4d5fafa72c5" providerId="ADAL" clId="{C7B19B88-03A4-47F3-843E-E5AFCD3D7735}" dt="2023-05-04T20:44:49.782" v="2706" actId="478"/>
          <ac:grpSpMkLst>
            <pc:docMk/>
            <pc:sldMk cId="4228431221" sldId="2147469920"/>
            <ac:grpSpMk id="29" creationId="{62CB1845-FDA8-42FA-B014-BC577CBF8E6B}"/>
          </ac:grpSpMkLst>
        </pc:grpChg>
        <pc:grpChg chg="del">
          <ac:chgData name="Moris Montejo" userId="55e843e1-b95f-4cc0-a457-c4d5fafa72c5" providerId="ADAL" clId="{C7B19B88-03A4-47F3-843E-E5AFCD3D7735}" dt="2023-05-04T20:58:19.227" v="3162" actId="478"/>
          <ac:grpSpMkLst>
            <pc:docMk/>
            <pc:sldMk cId="4228431221" sldId="2147469920"/>
            <ac:grpSpMk id="34" creationId="{266975E3-0F72-47A5-BF3B-65C8E2E06870}"/>
          </ac:grpSpMkLst>
        </pc:grpChg>
        <pc:grpChg chg="add mod">
          <ac:chgData name="Moris Montejo" userId="55e843e1-b95f-4cc0-a457-c4d5fafa72c5" providerId="ADAL" clId="{C7B19B88-03A4-47F3-843E-E5AFCD3D7735}" dt="2023-05-04T20:50:09.856" v="3093" actId="1076"/>
          <ac:grpSpMkLst>
            <pc:docMk/>
            <pc:sldMk cId="4228431221" sldId="2147469920"/>
            <ac:grpSpMk id="37" creationId="{AD1DDED3-9BC7-FADF-EF9A-8C73D300C4AC}"/>
          </ac:grpSpMkLst>
        </pc:grpChg>
        <pc:grpChg chg="mod">
          <ac:chgData name="Moris Montejo" userId="55e843e1-b95f-4cc0-a457-c4d5fafa72c5" providerId="ADAL" clId="{C7B19B88-03A4-47F3-843E-E5AFCD3D7735}" dt="2023-05-04T20:47:24.562" v="2877"/>
          <ac:grpSpMkLst>
            <pc:docMk/>
            <pc:sldMk cId="4228431221" sldId="2147469920"/>
            <ac:grpSpMk id="40" creationId="{A12CDA39-FCBA-77E3-71E9-B3EDCAE4BFFE}"/>
          </ac:grpSpMkLst>
        </pc:grpChg>
        <pc:grpChg chg="add mod">
          <ac:chgData name="Moris Montejo" userId="55e843e1-b95f-4cc0-a457-c4d5fafa72c5" providerId="ADAL" clId="{C7B19B88-03A4-47F3-843E-E5AFCD3D7735}" dt="2023-05-04T20:49:30.085" v="3003" actId="1076"/>
          <ac:grpSpMkLst>
            <pc:docMk/>
            <pc:sldMk cId="4228431221" sldId="2147469920"/>
            <ac:grpSpMk id="43" creationId="{E397C03B-ABC6-9BB4-A5D8-BE91104C8202}"/>
          </ac:grpSpMkLst>
        </pc:grpChg>
        <pc:grpChg chg="mod">
          <ac:chgData name="Moris Montejo" userId="55e843e1-b95f-4cc0-a457-c4d5fafa72c5" providerId="ADAL" clId="{C7B19B88-03A4-47F3-843E-E5AFCD3D7735}" dt="2023-05-04T20:49:26.738" v="3002"/>
          <ac:grpSpMkLst>
            <pc:docMk/>
            <pc:sldMk cId="4228431221" sldId="2147469920"/>
            <ac:grpSpMk id="45" creationId="{DF39BC5C-8213-0774-B7A7-AAB083BD7C8D}"/>
          </ac:grpSpMkLst>
        </pc:grpChg>
        <pc:grpChg chg="add mod">
          <ac:chgData name="Moris Montejo" userId="55e843e1-b95f-4cc0-a457-c4d5fafa72c5" providerId="ADAL" clId="{C7B19B88-03A4-47F3-843E-E5AFCD3D7735}" dt="2023-05-04T20:58:24.272" v="3168"/>
          <ac:grpSpMkLst>
            <pc:docMk/>
            <pc:sldMk cId="4228431221" sldId="2147469920"/>
            <ac:grpSpMk id="48" creationId="{2A72696C-E758-97D1-5D79-6D88D8B82AF8}"/>
          </ac:grpSpMkLst>
        </pc:grpChg>
        <pc:grpChg chg="add mod">
          <ac:chgData name="Moris Montejo" userId="55e843e1-b95f-4cc0-a457-c4d5fafa72c5" providerId="ADAL" clId="{C7B19B88-03A4-47F3-843E-E5AFCD3D7735}" dt="2023-05-04T20:58:24.272" v="3168"/>
          <ac:grpSpMkLst>
            <pc:docMk/>
            <pc:sldMk cId="4228431221" sldId="2147469920"/>
            <ac:grpSpMk id="53" creationId="{CAD8480B-F736-C83D-951D-F04FEBA8807E}"/>
          </ac:grpSpMkLst>
        </pc:grpChg>
        <pc:grpChg chg="add mod">
          <ac:chgData name="Moris Montejo" userId="55e843e1-b95f-4cc0-a457-c4d5fafa72c5" providerId="ADAL" clId="{C7B19B88-03A4-47F3-843E-E5AFCD3D7735}" dt="2023-05-04T20:58:24.272" v="3168"/>
          <ac:grpSpMkLst>
            <pc:docMk/>
            <pc:sldMk cId="4228431221" sldId="2147469920"/>
            <ac:grpSpMk id="57" creationId="{CF276F0C-3AAF-F309-A8EE-26D61F5B93BF}"/>
          </ac:grpSpMkLst>
        </pc:grpChg>
        <pc:grpChg chg="add mod">
          <ac:chgData name="Moris Montejo" userId="55e843e1-b95f-4cc0-a457-c4d5fafa72c5" providerId="ADAL" clId="{C7B19B88-03A4-47F3-843E-E5AFCD3D7735}" dt="2023-05-04T20:58:24.272" v="3168"/>
          <ac:grpSpMkLst>
            <pc:docMk/>
            <pc:sldMk cId="4228431221" sldId="2147469920"/>
            <ac:grpSpMk id="61" creationId="{D705D787-CFE8-27B8-16C4-44FF95694EF7}"/>
          </ac:grpSpMkLst>
        </pc:grpChg>
        <pc:grpChg chg="add mod">
          <ac:chgData name="Moris Montejo" userId="55e843e1-b95f-4cc0-a457-c4d5fafa72c5" providerId="ADAL" clId="{C7B19B88-03A4-47F3-843E-E5AFCD3D7735}" dt="2023-05-04T20:58:24.272" v="3168"/>
          <ac:grpSpMkLst>
            <pc:docMk/>
            <pc:sldMk cId="4228431221" sldId="2147469920"/>
            <ac:grpSpMk id="65" creationId="{92090BBD-6F7E-1AB5-41B0-A33965334921}"/>
          </ac:grpSpMkLst>
        </pc:grpChg>
        <pc:picChg chg="del">
          <ac:chgData name="Moris Montejo" userId="55e843e1-b95f-4cc0-a457-c4d5fafa72c5" providerId="ADAL" clId="{C7B19B88-03A4-47F3-843E-E5AFCD3D7735}" dt="2023-05-04T20:58:18.335" v="3161" actId="478"/>
          <ac:picMkLst>
            <pc:docMk/>
            <pc:sldMk cId="4228431221" sldId="2147469920"/>
            <ac:picMk id="5" creationId="{87AF687C-F6A9-4B37-9756-7BE0EA2740F4}"/>
          </ac:picMkLst>
        </pc:picChg>
        <pc:picChg chg="del">
          <ac:chgData name="Moris Montejo" userId="55e843e1-b95f-4cc0-a457-c4d5fafa72c5" providerId="ADAL" clId="{C7B19B88-03A4-47F3-843E-E5AFCD3D7735}" dt="2023-05-04T20:58:21.621" v="3165" actId="478"/>
          <ac:picMkLst>
            <pc:docMk/>
            <pc:sldMk cId="4228431221" sldId="2147469920"/>
            <ac:picMk id="11" creationId="{9A03279E-2D1A-4745-9BA3-E34BEA31888E}"/>
          </ac:picMkLst>
        </pc:picChg>
        <pc:picChg chg="del">
          <ac:chgData name="Moris Montejo" userId="55e843e1-b95f-4cc0-a457-c4d5fafa72c5" providerId="ADAL" clId="{C7B19B88-03A4-47F3-843E-E5AFCD3D7735}" dt="2023-05-04T20:58:23.061" v="3167" actId="478"/>
          <ac:picMkLst>
            <pc:docMk/>
            <pc:sldMk cId="4228431221" sldId="2147469920"/>
            <ac:picMk id="12" creationId="{39142152-7D73-4DD8-B884-C8162701FC7D}"/>
          </ac:picMkLst>
        </pc:picChg>
        <pc:picChg chg="del">
          <ac:chgData name="Moris Montejo" userId="55e843e1-b95f-4cc0-a457-c4d5fafa72c5" providerId="ADAL" clId="{C7B19B88-03A4-47F3-843E-E5AFCD3D7735}" dt="2023-05-04T20:58:22.224" v="3166" actId="478"/>
          <ac:picMkLst>
            <pc:docMk/>
            <pc:sldMk cId="4228431221" sldId="2147469920"/>
            <ac:picMk id="28" creationId="{0973F899-CA8D-4117-A5EA-7B6A39C58494}"/>
          </ac:picMkLst>
        </pc:picChg>
        <pc:picChg chg="mod">
          <ac:chgData name="Moris Montejo" userId="55e843e1-b95f-4cc0-a457-c4d5fafa72c5" providerId="ADAL" clId="{C7B19B88-03A4-47F3-843E-E5AFCD3D7735}" dt="2023-05-04T20:58:24.272" v="3168"/>
          <ac:picMkLst>
            <pc:docMk/>
            <pc:sldMk cId="4228431221" sldId="2147469920"/>
            <ac:picMk id="49" creationId="{FAC37D43-D058-050A-694F-2BAFFF8FE700}"/>
          </ac:picMkLst>
        </pc:picChg>
        <pc:picChg chg="mod">
          <ac:chgData name="Moris Montejo" userId="55e843e1-b95f-4cc0-a457-c4d5fafa72c5" providerId="ADAL" clId="{C7B19B88-03A4-47F3-843E-E5AFCD3D7735}" dt="2023-05-04T20:58:24.272" v="3168"/>
          <ac:picMkLst>
            <pc:docMk/>
            <pc:sldMk cId="4228431221" sldId="2147469920"/>
            <ac:picMk id="50" creationId="{6CEA7C19-AADB-E70B-34A5-92A163C03917}"/>
          </ac:picMkLst>
        </pc:picChg>
        <pc:picChg chg="add mod">
          <ac:chgData name="Moris Montejo" userId="55e843e1-b95f-4cc0-a457-c4d5fafa72c5" providerId="ADAL" clId="{C7B19B88-03A4-47F3-843E-E5AFCD3D7735}" dt="2023-05-04T20:58:24.272" v="3168"/>
          <ac:picMkLst>
            <pc:docMk/>
            <pc:sldMk cId="4228431221" sldId="2147469920"/>
            <ac:picMk id="52" creationId="{BF89D65D-184A-5810-4E98-15E2164096CE}"/>
          </ac:picMkLst>
        </pc:picChg>
        <pc:picChg chg="mod">
          <ac:chgData name="Moris Montejo" userId="55e843e1-b95f-4cc0-a457-c4d5fafa72c5" providerId="ADAL" clId="{C7B19B88-03A4-47F3-843E-E5AFCD3D7735}" dt="2023-05-04T20:58:24.272" v="3168"/>
          <ac:picMkLst>
            <pc:docMk/>
            <pc:sldMk cId="4228431221" sldId="2147469920"/>
            <ac:picMk id="54" creationId="{53C5A548-9C01-9F0A-26E6-0CC1C0946958}"/>
          </ac:picMkLst>
        </pc:picChg>
        <pc:picChg chg="add mod">
          <ac:chgData name="Moris Montejo" userId="55e843e1-b95f-4cc0-a457-c4d5fafa72c5" providerId="ADAL" clId="{C7B19B88-03A4-47F3-843E-E5AFCD3D7735}" dt="2023-05-04T20:58:24.272" v="3168"/>
          <ac:picMkLst>
            <pc:docMk/>
            <pc:sldMk cId="4228431221" sldId="2147469920"/>
            <ac:picMk id="56" creationId="{B2BB215A-2F14-78A5-8F18-41E57DDF48EE}"/>
          </ac:picMkLst>
        </pc:picChg>
        <pc:picChg chg="mod">
          <ac:chgData name="Moris Montejo" userId="55e843e1-b95f-4cc0-a457-c4d5fafa72c5" providerId="ADAL" clId="{C7B19B88-03A4-47F3-843E-E5AFCD3D7735}" dt="2023-05-04T20:58:24.272" v="3168"/>
          <ac:picMkLst>
            <pc:docMk/>
            <pc:sldMk cId="4228431221" sldId="2147469920"/>
            <ac:picMk id="58" creationId="{58A6390E-3C4E-E23F-AF87-15DE31EF52E0}"/>
          </ac:picMkLst>
        </pc:picChg>
        <pc:picChg chg="add mod">
          <ac:chgData name="Moris Montejo" userId="55e843e1-b95f-4cc0-a457-c4d5fafa72c5" providerId="ADAL" clId="{C7B19B88-03A4-47F3-843E-E5AFCD3D7735}" dt="2023-05-04T20:58:24.272" v="3168"/>
          <ac:picMkLst>
            <pc:docMk/>
            <pc:sldMk cId="4228431221" sldId="2147469920"/>
            <ac:picMk id="60" creationId="{C42FE6EE-405F-485B-660F-C0DB97940B59}"/>
          </ac:picMkLst>
        </pc:picChg>
        <pc:picChg chg="mod">
          <ac:chgData name="Moris Montejo" userId="55e843e1-b95f-4cc0-a457-c4d5fafa72c5" providerId="ADAL" clId="{C7B19B88-03A4-47F3-843E-E5AFCD3D7735}" dt="2023-05-04T20:58:24.272" v="3168"/>
          <ac:picMkLst>
            <pc:docMk/>
            <pc:sldMk cId="4228431221" sldId="2147469920"/>
            <ac:picMk id="62" creationId="{8DF0AF4B-56F0-0353-C3AE-E1F3486C0C6B}"/>
          </ac:picMkLst>
        </pc:picChg>
        <pc:picChg chg="add mod">
          <ac:chgData name="Moris Montejo" userId="55e843e1-b95f-4cc0-a457-c4d5fafa72c5" providerId="ADAL" clId="{C7B19B88-03A4-47F3-843E-E5AFCD3D7735}" dt="2023-05-04T20:58:24.272" v="3168"/>
          <ac:picMkLst>
            <pc:docMk/>
            <pc:sldMk cId="4228431221" sldId="2147469920"/>
            <ac:picMk id="64" creationId="{7DC06B80-A7EC-155C-4910-EC92197DE98F}"/>
          </ac:picMkLst>
        </pc:picChg>
        <pc:picChg chg="mod">
          <ac:chgData name="Moris Montejo" userId="55e843e1-b95f-4cc0-a457-c4d5fafa72c5" providerId="ADAL" clId="{C7B19B88-03A4-47F3-843E-E5AFCD3D7735}" dt="2023-05-04T20:58:24.272" v="3168"/>
          <ac:picMkLst>
            <pc:docMk/>
            <pc:sldMk cId="4228431221" sldId="2147469920"/>
            <ac:picMk id="66" creationId="{D2EDA106-D440-3C4C-A61E-D9BE841D2116}"/>
          </ac:picMkLst>
        </pc:picChg>
        <pc:picChg chg="add mod">
          <ac:chgData name="Moris Montejo" userId="55e843e1-b95f-4cc0-a457-c4d5fafa72c5" providerId="ADAL" clId="{C7B19B88-03A4-47F3-843E-E5AFCD3D7735}" dt="2023-05-04T20:58:24.272" v="3168"/>
          <ac:picMkLst>
            <pc:docMk/>
            <pc:sldMk cId="4228431221" sldId="2147469920"/>
            <ac:picMk id="68" creationId="{2586867F-73B0-53E1-CB60-DA2602CB3F78}"/>
          </ac:picMkLst>
        </pc:picChg>
      </pc:sldChg>
      <pc:sldChg chg="addSp delSp modSp add del mod">
        <pc:chgData name="Moris Montejo" userId="55e843e1-b95f-4cc0-a457-c4d5fafa72c5" providerId="ADAL" clId="{C7B19B88-03A4-47F3-843E-E5AFCD3D7735}" dt="2023-05-04T21:08:17.929" v="3279" actId="2696"/>
        <pc:sldMkLst>
          <pc:docMk/>
          <pc:sldMk cId="2095491291" sldId="2147469921"/>
        </pc:sldMkLst>
        <pc:spChg chg="del topLvl">
          <ac:chgData name="Moris Montejo" userId="55e843e1-b95f-4cc0-a457-c4d5fafa72c5" providerId="ADAL" clId="{C7B19B88-03A4-47F3-843E-E5AFCD3D7735}" dt="2023-05-04T20:59:28.505" v="3179" actId="478"/>
          <ac:spMkLst>
            <pc:docMk/>
            <pc:sldMk cId="2095491291" sldId="2147469921"/>
            <ac:spMk id="6" creationId="{2029175F-9C15-B841-061D-D345BC51A931}"/>
          </ac:spMkLst>
        </pc:spChg>
        <pc:spChg chg="del topLvl">
          <ac:chgData name="Moris Montejo" userId="55e843e1-b95f-4cc0-a457-c4d5fafa72c5" providerId="ADAL" clId="{C7B19B88-03A4-47F3-843E-E5AFCD3D7735}" dt="2023-05-04T20:59:31.630" v="3181" actId="478"/>
          <ac:spMkLst>
            <pc:docMk/>
            <pc:sldMk cId="2095491291" sldId="2147469921"/>
            <ac:spMk id="24" creationId="{79475ECA-8801-49F7-930D-0DC517F2EC01}"/>
          </ac:spMkLst>
        </pc:spChg>
        <pc:spChg chg="add del mod topLvl">
          <ac:chgData name="Moris Montejo" userId="55e843e1-b95f-4cc0-a457-c4d5fafa72c5" providerId="ADAL" clId="{C7B19B88-03A4-47F3-843E-E5AFCD3D7735}" dt="2023-05-04T20:59:40.654" v="3188" actId="20577"/>
          <ac:spMkLst>
            <pc:docMk/>
            <pc:sldMk cId="2095491291" sldId="2147469921"/>
            <ac:spMk id="27" creationId="{E84D81DF-B523-451B-846C-EDC559C8E170}"/>
          </ac:spMkLst>
        </pc:spChg>
        <pc:spChg chg="mod">
          <ac:chgData name="Moris Montejo" userId="55e843e1-b95f-4cc0-a457-c4d5fafa72c5" providerId="ADAL" clId="{C7B19B88-03A4-47F3-843E-E5AFCD3D7735}" dt="2023-05-04T20:59:25.787" v="3177" actId="20577"/>
          <ac:spMkLst>
            <pc:docMk/>
            <pc:sldMk cId="2095491291" sldId="2147469921"/>
            <ac:spMk id="39" creationId="{2EA3D27A-D0D4-7DEE-28D5-ABAE38CCF3B7}"/>
          </ac:spMkLst>
        </pc:spChg>
        <pc:spChg chg="del">
          <ac:chgData name="Moris Montejo" userId="55e843e1-b95f-4cc0-a457-c4d5fafa72c5" providerId="ADAL" clId="{C7B19B88-03A4-47F3-843E-E5AFCD3D7735}" dt="2023-05-04T20:59:26.827" v="3178" actId="478"/>
          <ac:spMkLst>
            <pc:docMk/>
            <pc:sldMk cId="2095491291" sldId="2147469921"/>
            <ac:spMk id="41" creationId="{5D0CE773-70C4-0FBB-82D0-EB40D0E3B544}"/>
          </ac:spMkLst>
        </pc:spChg>
        <pc:spChg chg="mod">
          <ac:chgData name="Moris Montejo" userId="55e843e1-b95f-4cc0-a457-c4d5fafa72c5" providerId="ADAL" clId="{C7B19B88-03A4-47F3-843E-E5AFCD3D7735}" dt="2023-05-04T20:59:20.772" v="3174" actId="20577"/>
          <ac:spMkLst>
            <pc:docMk/>
            <pc:sldMk cId="2095491291" sldId="2147469921"/>
            <ac:spMk id="44" creationId="{17F97D6C-5F9A-A39F-290D-2A5FA827169A}"/>
          </ac:spMkLst>
        </pc:spChg>
        <pc:spChg chg="del">
          <ac:chgData name="Moris Montejo" userId="55e843e1-b95f-4cc0-a457-c4d5fafa72c5" providerId="ADAL" clId="{C7B19B88-03A4-47F3-843E-E5AFCD3D7735}" dt="2023-05-04T20:59:22.366" v="3175" actId="478"/>
          <ac:spMkLst>
            <pc:docMk/>
            <pc:sldMk cId="2095491291" sldId="2147469921"/>
            <ac:spMk id="46" creationId="{912B3D73-1E65-45A2-3115-4D82F66935C3}"/>
          </ac:spMkLst>
        </pc:spChg>
        <pc:grpChg chg="del">
          <ac:chgData name="Moris Montejo" userId="55e843e1-b95f-4cc0-a457-c4d5fafa72c5" providerId="ADAL" clId="{C7B19B88-03A4-47F3-843E-E5AFCD3D7735}" dt="2023-05-04T20:59:28.505" v="3179" actId="478"/>
          <ac:grpSpMkLst>
            <pc:docMk/>
            <pc:sldMk cId="2095491291" sldId="2147469921"/>
            <ac:grpSpMk id="4" creationId="{01EC8050-95F2-2AD2-6542-9E5440D0AA9D}"/>
          </ac:grpSpMkLst>
        </pc:grpChg>
        <pc:grpChg chg="del topLvl">
          <ac:chgData name="Moris Montejo" userId="55e843e1-b95f-4cc0-a457-c4d5fafa72c5" providerId="ADAL" clId="{C7B19B88-03A4-47F3-843E-E5AFCD3D7735}" dt="2023-05-04T20:59:30.155" v="3180" actId="478"/>
          <ac:grpSpMkLst>
            <pc:docMk/>
            <pc:sldMk cId="2095491291" sldId="2147469921"/>
            <ac:grpSpMk id="13" creationId="{14C1527C-DD16-1A11-7516-B0DE0178676F}"/>
          </ac:grpSpMkLst>
        </pc:grpChg>
        <pc:grpChg chg="del">
          <ac:chgData name="Moris Montejo" userId="55e843e1-b95f-4cc0-a457-c4d5fafa72c5" providerId="ADAL" clId="{C7B19B88-03A4-47F3-843E-E5AFCD3D7735}" dt="2023-05-04T20:59:31.630" v="3181" actId="478"/>
          <ac:grpSpMkLst>
            <pc:docMk/>
            <pc:sldMk cId="2095491291" sldId="2147469921"/>
            <ac:grpSpMk id="23" creationId="{49BB6552-08F9-4DB7-8068-57DB8F98D4B4}"/>
          </ac:grpSpMkLst>
        </pc:grpChg>
        <pc:grpChg chg="del topLvl">
          <ac:chgData name="Moris Montejo" userId="55e843e1-b95f-4cc0-a457-c4d5fafa72c5" providerId="ADAL" clId="{C7B19B88-03A4-47F3-843E-E5AFCD3D7735}" dt="2023-05-04T20:59:32.467" v="3182" actId="478"/>
          <ac:grpSpMkLst>
            <pc:docMk/>
            <pc:sldMk cId="2095491291" sldId="2147469921"/>
            <ac:grpSpMk id="25" creationId="{C881A738-82FB-451D-8A94-3223CA964C9F}"/>
          </ac:grpSpMkLst>
        </pc:grpChg>
        <pc:grpChg chg="add del">
          <ac:chgData name="Moris Montejo" userId="55e843e1-b95f-4cc0-a457-c4d5fafa72c5" providerId="ADAL" clId="{C7B19B88-03A4-47F3-843E-E5AFCD3D7735}" dt="2023-05-04T20:59:50.673" v="3189" actId="478"/>
          <ac:grpSpMkLst>
            <pc:docMk/>
            <pc:sldMk cId="2095491291" sldId="2147469921"/>
            <ac:grpSpMk id="26" creationId="{986256A6-BC67-4D48-9FD6-19D46B73975F}"/>
          </ac:grpSpMkLst>
        </pc:grpChg>
        <pc:grpChg chg="add del mod topLvl">
          <ac:chgData name="Moris Montejo" userId="55e843e1-b95f-4cc0-a457-c4d5fafa72c5" providerId="ADAL" clId="{C7B19B88-03A4-47F3-843E-E5AFCD3D7735}" dt="2023-05-04T20:59:37.280" v="3187" actId="478"/>
          <ac:grpSpMkLst>
            <pc:docMk/>
            <pc:sldMk cId="2095491291" sldId="2147469921"/>
            <ac:grpSpMk id="29" creationId="{62CB1845-FDA8-42FA-B014-BC577CBF8E6B}"/>
          </ac:grpSpMkLst>
        </pc:grpChg>
        <pc:grpChg chg="del">
          <ac:chgData name="Moris Montejo" userId="55e843e1-b95f-4cc0-a457-c4d5fafa72c5" providerId="ADAL" clId="{C7B19B88-03A4-47F3-843E-E5AFCD3D7735}" dt="2023-05-04T20:59:26.827" v="3178" actId="478"/>
          <ac:grpSpMkLst>
            <pc:docMk/>
            <pc:sldMk cId="2095491291" sldId="2147469921"/>
            <ac:grpSpMk id="40" creationId="{A12CDA39-FCBA-77E3-71E9-B3EDCAE4BFFE}"/>
          </ac:grpSpMkLst>
        </pc:grpChg>
        <pc:grpChg chg="del">
          <ac:chgData name="Moris Montejo" userId="55e843e1-b95f-4cc0-a457-c4d5fafa72c5" providerId="ADAL" clId="{C7B19B88-03A4-47F3-843E-E5AFCD3D7735}" dt="2023-05-04T20:59:22.366" v="3175" actId="478"/>
          <ac:grpSpMkLst>
            <pc:docMk/>
            <pc:sldMk cId="2095491291" sldId="2147469921"/>
            <ac:grpSpMk id="45" creationId="{DF39BC5C-8213-0774-B7A7-AAB083BD7C8D}"/>
          </ac:grpSpMkLst>
        </pc:grpChg>
        <pc:grpChg chg="mod">
          <ac:chgData name="Moris Montejo" userId="55e843e1-b95f-4cc0-a457-c4d5fafa72c5" providerId="ADAL" clId="{C7B19B88-03A4-47F3-843E-E5AFCD3D7735}" dt="2023-05-04T21:06:18.343" v="3253" actId="14100"/>
          <ac:grpSpMkLst>
            <pc:docMk/>
            <pc:sldMk cId="2095491291" sldId="2147469921"/>
            <ac:grpSpMk id="48" creationId="{2A72696C-E758-97D1-5D79-6D88D8B82AF8}"/>
          </ac:grpSpMkLst>
        </pc:grpChg>
        <pc:grpChg chg="del">
          <ac:chgData name="Moris Montejo" userId="55e843e1-b95f-4cc0-a457-c4d5fafa72c5" providerId="ADAL" clId="{C7B19B88-03A4-47F3-843E-E5AFCD3D7735}" dt="2023-05-04T21:00:00.172" v="3196" actId="478"/>
          <ac:grpSpMkLst>
            <pc:docMk/>
            <pc:sldMk cId="2095491291" sldId="2147469921"/>
            <ac:grpSpMk id="53" creationId="{CAD8480B-F736-C83D-951D-F04FEBA8807E}"/>
          </ac:grpSpMkLst>
        </pc:grpChg>
        <pc:grpChg chg="del">
          <ac:chgData name="Moris Montejo" userId="55e843e1-b95f-4cc0-a457-c4d5fafa72c5" providerId="ADAL" clId="{C7B19B88-03A4-47F3-843E-E5AFCD3D7735}" dt="2023-05-04T20:59:57.167" v="3194" actId="478"/>
          <ac:grpSpMkLst>
            <pc:docMk/>
            <pc:sldMk cId="2095491291" sldId="2147469921"/>
            <ac:grpSpMk id="57" creationId="{CF276F0C-3AAF-F309-A8EE-26D61F5B93BF}"/>
          </ac:grpSpMkLst>
        </pc:grpChg>
        <pc:grpChg chg="del">
          <ac:chgData name="Moris Montejo" userId="55e843e1-b95f-4cc0-a457-c4d5fafa72c5" providerId="ADAL" clId="{C7B19B88-03A4-47F3-843E-E5AFCD3D7735}" dt="2023-05-04T20:59:55.126" v="3192" actId="478"/>
          <ac:grpSpMkLst>
            <pc:docMk/>
            <pc:sldMk cId="2095491291" sldId="2147469921"/>
            <ac:grpSpMk id="61" creationId="{D705D787-CFE8-27B8-16C4-44FF95694EF7}"/>
          </ac:grpSpMkLst>
        </pc:grpChg>
        <pc:grpChg chg="del">
          <ac:chgData name="Moris Montejo" userId="55e843e1-b95f-4cc0-a457-c4d5fafa72c5" providerId="ADAL" clId="{C7B19B88-03A4-47F3-843E-E5AFCD3D7735}" dt="2023-05-04T20:59:54.167" v="3191" actId="478"/>
          <ac:grpSpMkLst>
            <pc:docMk/>
            <pc:sldMk cId="2095491291" sldId="2147469921"/>
            <ac:grpSpMk id="65" creationId="{92090BBD-6F7E-1AB5-41B0-A33965334921}"/>
          </ac:grpSpMkLst>
        </pc:grpChg>
        <pc:picChg chg="add mod">
          <ac:chgData name="Moris Montejo" userId="55e843e1-b95f-4cc0-a457-c4d5fafa72c5" providerId="ADAL" clId="{C7B19B88-03A4-47F3-843E-E5AFCD3D7735}" dt="2023-05-04T21:06:27.677" v="3255" actId="14100"/>
          <ac:picMkLst>
            <pc:docMk/>
            <pc:sldMk cId="2095491291" sldId="2147469921"/>
            <ac:picMk id="7" creationId="{8517D4ED-73E3-B8F9-CCFA-37C093C21F3C}"/>
          </ac:picMkLst>
        </pc:picChg>
        <pc:picChg chg="del">
          <ac:chgData name="Moris Montejo" userId="55e843e1-b95f-4cc0-a457-c4d5fafa72c5" providerId="ADAL" clId="{C7B19B88-03A4-47F3-843E-E5AFCD3D7735}" dt="2023-05-04T21:05:53.159" v="3249" actId="478"/>
          <ac:picMkLst>
            <pc:docMk/>
            <pc:sldMk cId="2095491291" sldId="2147469921"/>
            <ac:picMk id="52" creationId="{BF89D65D-184A-5810-4E98-15E2164096CE}"/>
          </ac:picMkLst>
        </pc:picChg>
        <pc:picChg chg="del">
          <ac:chgData name="Moris Montejo" userId="55e843e1-b95f-4cc0-a457-c4d5fafa72c5" providerId="ADAL" clId="{C7B19B88-03A4-47F3-843E-E5AFCD3D7735}" dt="2023-05-04T21:00:01.288" v="3197" actId="478"/>
          <ac:picMkLst>
            <pc:docMk/>
            <pc:sldMk cId="2095491291" sldId="2147469921"/>
            <ac:picMk id="56" creationId="{B2BB215A-2F14-78A5-8F18-41E57DDF48EE}"/>
          </ac:picMkLst>
        </pc:picChg>
        <pc:picChg chg="del">
          <ac:chgData name="Moris Montejo" userId="55e843e1-b95f-4cc0-a457-c4d5fafa72c5" providerId="ADAL" clId="{C7B19B88-03A4-47F3-843E-E5AFCD3D7735}" dt="2023-05-04T20:59:58.368" v="3195" actId="478"/>
          <ac:picMkLst>
            <pc:docMk/>
            <pc:sldMk cId="2095491291" sldId="2147469921"/>
            <ac:picMk id="60" creationId="{C42FE6EE-405F-485B-660F-C0DB97940B59}"/>
          </ac:picMkLst>
        </pc:picChg>
        <pc:picChg chg="del">
          <ac:chgData name="Moris Montejo" userId="55e843e1-b95f-4cc0-a457-c4d5fafa72c5" providerId="ADAL" clId="{C7B19B88-03A4-47F3-843E-E5AFCD3D7735}" dt="2023-05-04T20:59:56.259" v="3193" actId="478"/>
          <ac:picMkLst>
            <pc:docMk/>
            <pc:sldMk cId="2095491291" sldId="2147469921"/>
            <ac:picMk id="64" creationId="{7DC06B80-A7EC-155C-4910-EC92197DE98F}"/>
          </ac:picMkLst>
        </pc:picChg>
        <pc:picChg chg="del">
          <ac:chgData name="Moris Montejo" userId="55e843e1-b95f-4cc0-a457-c4d5fafa72c5" providerId="ADAL" clId="{C7B19B88-03A4-47F3-843E-E5AFCD3D7735}" dt="2023-05-04T20:59:52.931" v="3190" actId="478"/>
          <ac:picMkLst>
            <pc:docMk/>
            <pc:sldMk cId="2095491291" sldId="2147469921"/>
            <ac:picMk id="68" creationId="{2586867F-73B0-53E1-CB60-DA2602CB3F78}"/>
          </ac:picMkLst>
        </pc:picChg>
      </pc:sldChg>
      <pc:sldChg chg="modSp del mod">
        <pc:chgData name="Moris Montejo" userId="55e843e1-b95f-4cc0-a457-c4d5fafa72c5" providerId="ADAL" clId="{C7B19B88-03A4-47F3-843E-E5AFCD3D7735}" dt="2023-05-04T20:46:34.999" v="2867" actId="2696"/>
        <pc:sldMkLst>
          <pc:docMk/>
          <pc:sldMk cId="2307118538" sldId="2147469921"/>
        </pc:sldMkLst>
        <pc:spChg chg="mod">
          <ac:chgData name="Moris Montejo" userId="55e843e1-b95f-4cc0-a457-c4d5fafa72c5" providerId="ADAL" clId="{C7B19B88-03A4-47F3-843E-E5AFCD3D7735}" dt="2023-05-04T20:42:28.276" v="2461"/>
          <ac:spMkLst>
            <pc:docMk/>
            <pc:sldMk cId="2307118538" sldId="2147469921"/>
            <ac:spMk id="2" creationId="{00000000-0000-0000-0000-000000000000}"/>
          </ac:spMkLst>
        </pc:spChg>
      </pc:sldChg>
      <pc:sldChg chg="addSp delSp modSp add del mod">
        <pc:chgData name="Moris Montejo" userId="55e843e1-b95f-4cc0-a457-c4d5fafa72c5" providerId="ADAL" clId="{C7B19B88-03A4-47F3-843E-E5AFCD3D7735}" dt="2023-05-04T21:11:19.959" v="3302" actId="2696"/>
        <pc:sldMkLst>
          <pc:docMk/>
          <pc:sldMk cId="1238283495" sldId="2147469922"/>
        </pc:sldMkLst>
        <pc:spChg chg="del topLvl">
          <ac:chgData name="Moris Montejo" userId="55e843e1-b95f-4cc0-a457-c4d5fafa72c5" providerId="ADAL" clId="{C7B19B88-03A4-47F3-843E-E5AFCD3D7735}" dt="2023-05-04T21:00:19.824" v="3201" actId="478"/>
          <ac:spMkLst>
            <pc:docMk/>
            <pc:sldMk cId="1238283495" sldId="2147469922"/>
            <ac:spMk id="39" creationId="{2EA3D27A-D0D4-7DEE-28D5-ABAE38CCF3B7}"/>
          </ac:spMkLst>
        </pc:spChg>
        <pc:spChg chg="del topLvl">
          <ac:chgData name="Moris Montejo" userId="55e843e1-b95f-4cc0-a457-c4d5fafa72c5" providerId="ADAL" clId="{C7B19B88-03A4-47F3-843E-E5AFCD3D7735}" dt="2023-05-04T21:00:21.650" v="3202" actId="478"/>
          <ac:spMkLst>
            <pc:docMk/>
            <pc:sldMk cId="1238283495" sldId="2147469922"/>
            <ac:spMk id="44" creationId="{17F97D6C-5F9A-A39F-290D-2A5FA827169A}"/>
          </ac:spMkLst>
        </pc:spChg>
        <pc:spChg chg="del mod topLvl">
          <ac:chgData name="Moris Montejo" userId="55e843e1-b95f-4cc0-a457-c4d5fafa72c5" providerId="ADAL" clId="{C7B19B88-03A4-47F3-843E-E5AFCD3D7735}" dt="2023-05-04T21:10:16.322" v="3289" actId="478"/>
          <ac:spMkLst>
            <pc:docMk/>
            <pc:sldMk cId="1238283495" sldId="2147469922"/>
            <ac:spMk id="55" creationId="{D13A98C7-86C9-11C2-BC2E-D58C83D2733B}"/>
          </ac:spMkLst>
        </pc:spChg>
        <pc:grpChg chg="del">
          <ac:chgData name="Moris Montejo" userId="55e843e1-b95f-4cc0-a457-c4d5fafa72c5" providerId="ADAL" clId="{C7B19B88-03A4-47F3-843E-E5AFCD3D7735}" dt="2023-05-04T21:00:17.139" v="3200" actId="478"/>
          <ac:grpSpMkLst>
            <pc:docMk/>
            <pc:sldMk cId="1238283495" sldId="2147469922"/>
            <ac:grpSpMk id="4" creationId="{01EC8050-95F2-2AD2-6542-9E5440D0AA9D}"/>
          </ac:grpSpMkLst>
        </pc:grpChg>
        <pc:grpChg chg="del">
          <ac:chgData name="Moris Montejo" userId="55e843e1-b95f-4cc0-a457-c4d5fafa72c5" providerId="ADAL" clId="{C7B19B88-03A4-47F3-843E-E5AFCD3D7735}" dt="2023-05-04T21:00:15.339" v="3199" actId="478"/>
          <ac:grpSpMkLst>
            <pc:docMk/>
            <pc:sldMk cId="1238283495" sldId="2147469922"/>
            <ac:grpSpMk id="23" creationId="{49BB6552-08F9-4DB7-8068-57DB8F98D4B4}"/>
          </ac:grpSpMkLst>
        </pc:grpChg>
        <pc:grpChg chg="del">
          <ac:chgData name="Moris Montejo" userId="55e843e1-b95f-4cc0-a457-c4d5fafa72c5" providerId="ADAL" clId="{C7B19B88-03A4-47F3-843E-E5AFCD3D7735}" dt="2023-05-04T21:00:19.824" v="3201" actId="478"/>
          <ac:grpSpMkLst>
            <pc:docMk/>
            <pc:sldMk cId="1238283495" sldId="2147469922"/>
            <ac:grpSpMk id="37" creationId="{AD1DDED3-9BC7-FADF-EF9A-8C73D300C4AC}"/>
          </ac:grpSpMkLst>
        </pc:grpChg>
        <pc:grpChg chg="del topLvl">
          <ac:chgData name="Moris Montejo" userId="55e843e1-b95f-4cc0-a457-c4d5fafa72c5" providerId="ADAL" clId="{C7B19B88-03A4-47F3-843E-E5AFCD3D7735}" dt="2023-05-04T21:00:23.337" v="3204" actId="478"/>
          <ac:grpSpMkLst>
            <pc:docMk/>
            <pc:sldMk cId="1238283495" sldId="2147469922"/>
            <ac:grpSpMk id="40" creationId="{A12CDA39-FCBA-77E3-71E9-B3EDCAE4BFFE}"/>
          </ac:grpSpMkLst>
        </pc:grpChg>
        <pc:grpChg chg="del">
          <ac:chgData name="Moris Montejo" userId="55e843e1-b95f-4cc0-a457-c4d5fafa72c5" providerId="ADAL" clId="{C7B19B88-03A4-47F3-843E-E5AFCD3D7735}" dt="2023-05-04T21:00:21.650" v="3202" actId="478"/>
          <ac:grpSpMkLst>
            <pc:docMk/>
            <pc:sldMk cId="1238283495" sldId="2147469922"/>
            <ac:grpSpMk id="43" creationId="{E397C03B-ABC6-9BB4-A5D8-BE91104C8202}"/>
          </ac:grpSpMkLst>
        </pc:grpChg>
        <pc:grpChg chg="del topLvl">
          <ac:chgData name="Moris Montejo" userId="55e843e1-b95f-4cc0-a457-c4d5fafa72c5" providerId="ADAL" clId="{C7B19B88-03A4-47F3-843E-E5AFCD3D7735}" dt="2023-05-04T21:00:22.798" v="3203" actId="478"/>
          <ac:grpSpMkLst>
            <pc:docMk/>
            <pc:sldMk cId="1238283495" sldId="2147469922"/>
            <ac:grpSpMk id="45" creationId="{DF39BC5C-8213-0774-B7A7-AAB083BD7C8D}"/>
          </ac:grpSpMkLst>
        </pc:grpChg>
        <pc:grpChg chg="del">
          <ac:chgData name="Moris Montejo" userId="55e843e1-b95f-4cc0-a457-c4d5fafa72c5" providerId="ADAL" clId="{C7B19B88-03A4-47F3-843E-E5AFCD3D7735}" dt="2023-05-04T21:10:16.322" v="3289" actId="478"/>
          <ac:grpSpMkLst>
            <pc:docMk/>
            <pc:sldMk cId="1238283495" sldId="2147469922"/>
            <ac:grpSpMk id="53" creationId="{CAD8480B-F736-C83D-951D-F04FEBA8807E}"/>
          </ac:grpSpMkLst>
        </pc:grpChg>
        <pc:grpChg chg="del">
          <ac:chgData name="Moris Montejo" userId="55e843e1-b95f-4cc0-a457-c4d5fafa72c5" providerId="ADAL" clId="{C7B19B88-03A4-47F3-843E-E5AFCD3D7735}" dt="2023-05-04T21:00:31.069" v="3210" actId="478"/>
          <ac:grpSpMkLst>
            <pc:docMk/>
            <pc:sldMk cId="1238283495" sldId="2147469922"/>
            <ac:grpSpMk id="57" creationId="{CF276F0C-3AAF-F309-A8EE-26D61F5B93BF}"/>
          </ac:grpSpMkLst>
        </pc:grpChg>
        <pc:grpChg chg="del">
          <ac:chgData name="Moris Montejo" userId="55e843e1-b95f-4cc0-a457-c4d5fafa72c5" providerId="ADAL" clId="{C7B19B88-03A4-47F3-843E-E5AFCD3D7735}" dt="2023-05-04T21:00:27.633" v="3208" actId="478"/>
          <ac:grpSpMkLst>
            <pc:docMk/>
            <pc:sldMk cId="1238283495" sldId="2147469922"/>
            <ac:grpSpMk id="61" creationId="{D705D787-CFE8-27B8-16C4-44FF95694EF7}"/>
          </ac:grpSpMkLst>
        </pc:grpChg>
        <pc:grpChg chg="del">
          <ac:chgData name="Moris Montejo" userId="55e843e1-b95f-4cc0-a457-c4d5fafa72c5" providerId="ADAL" clId="{C7B19B88-03A4-47F3-843E-E5AFCD3D7735}" dt="2023-05-04T21:00:25.440" v="3205" actId="478"/>
          <ac:grpSpMkLst>
            <pc:docMk/>
            <pc:sldMk cId="1238283495" sldId="2147469922"/>
            <ac:grpSpMk id="65" creationId="{92090BBD-6F7E-1AB5-41B0-A33965334921}"/>
          </ac:grpSpMkLst>
        </pc:grpChg>
        <pc:picChg chg="add mod">
          <ac:chgData name="Moris Montejo" userId="55e843e1-b95f-4cc0-a457-c4d5fafa72c5" providerId="ADAL" clId="{C7B19B88-03A4-47F3-843E-E5AFCD3D7735}" dt="2023-05-04T21:10:44.341" v="3298" actId="1035"/>
          <ac:picMkLst>
            <pc:docMk/>
            <pc:sldMk cId="1238283495" sldId="2147469922"/>
            <ac:picMk id="7" creationId="{DAB5BDD9-7E29-10AD-A391-210CD949F375}"/>
          </ac:picMkLst>
        </pc:picChg>
        <pc:picChg chg="del">
          <ac:chgData name="Moris Montejo" userId="55e843e1-b95f-4cc0-a457-c4d5fafa72c5" providerId="ADAL" clId="{C7B19B88-03A4-47F3-843E-E5AFCD3D7735}" dt="2023-05-04T21:08:22.434" v="3280" actId="478"/>
          <ac:picMkLst>
            <pc:docMk/>
            <pc:sldMk cId="1238283495" sldId="2147469922"/>
            <ac:picMk id="49" creationId="{FAC37D43-D058-050A-694F-2BAFFF8FE700}"/>
          </ac:picMkLst>
        </pc:picChg>
        <pc:picChg chg="del">
          <ac:chgData name="Moris Montejo" userId="55e843e1-b95f-4cc0-a457-c4d5fafa72c5" providerId="ADAL" clId="{C7B19B88-03A4-47F3-843E-E5AFCD3D7735}" dt="2023-05-04T21:08:23.563" v="3281" actId="478"/>
          <ac:picMkLst>
            <pc:docMk/>
            <pc:sldMk cId="1238283495" sldId="2147469922"/>
            <ac:picMk id="52" creationId="{BF89D65D-184A-5810-4E98-15E2164096CE}"/>
          </ac:picMkLst>
        </pc:picChg>
        <pc:picChg chg="mod topLvl">
          <ac:chgData name="Moris Montejo" userId="55e843e1-b95f-4cc0-a457-c4d5fafa72c5" providerId="ADAL" clId="{C7B19B88-03A4-47F3-843E-E5AFCD3D7735}" dt="2023-05-04T21:10:37.230" v="3293" actId="14100"/>
          <ac:picMkLst>
            <pc:docMk/>
            <pc:sldMk cId="1238283495" sldId="2147469922"/>
            <ac:picMk id="54" creationId="{53C5A548-9C01-9F0A-26E6-0CC1C0946958}"/>
          </ac:picMkLst>
        </pc:picChg>
        <pc:picChg chg="del">
          <ac:chgData name="Moris Montejo" userId="55e843e1-b95f-4cc0-a457-c4d5fafa72c5" providerId="ADAL" clId="{C7B19B88-03A4-47F3-843E-E5AFCD3D7735}" dt="2023-05-04T21:09:51.018" v="3282" actId="478"/>
          <ac:picMkLst>
            <pc:docMk/>
            <pc:sldMk cId="1238283495" sldId="2147469922"/>
            <ac:picMk id="56" creationId="{B2BB215A-2F14-78A5-8F18-41E57DDF48EE}"/>
          </ac:picMkLst>
        </pc:picChg>
        <pc:picChg chg="del">
          <ac:chgData name="Moris Montejo" userId="55e843e1-b95f-4cc0-a457-c4d5fafa72c5" providerId="ADAL" clId="{C7B19B88-03A4-47F3-843E-E5AFCD3D7735}" dt="2023-05-04T21:00:30.417" v="3209" actId="478"/>
          <ac:picMkLst>
            <pc:docMk/>
            <pc:sldMk cId="1238283495" sldId="2147469922"/>
            <ac:picMk id="60" creationId="{C42FE6EE-405F-485B-660F-C0DB97940B59}"/>
          </ac:picMkLst>
        </pc:picChg>
        <pc:picChg chg="del">
          <ac:chgData name="Moris Montejo" userId="55e843e1-b95f-4cc0-a457-c4d5fafa72c5" providerId="ADAL" clId="{C7B19B88-03A4-47F3-843E-E5AFCD3D7735}" dt="2023-05-04T21:00:27.027" v="3207" actId="478"/>
          <ac:picMkLst>
            <pc:docMk/>
            <pc:sldMk cId="1238283495" sldId="2147469922"/>
            <ac:picMk id="64" creationId="{7DC06B80-A7EC-155C-4910-EC92197DE98F}"/>
          </ac:picMkLst>
        </pc:picChg>
        <pc:picChg chg="del">
          <ac:chgData name="Moris Montejo" userId="55e843e1-b95f-4cc0-a457-c4d5fafa72c5" providerId="ADAL" clId="{C7B19B88-03A4-47F3-843E-E5AFCD3D7735}" dt="2023-05-04T21:00:26.296" v="3206" actId="478"/>
          <ac:picMkLst>
            <pc:docMk/>
            <pc:sldMk cId="1238283495" sldId="2147469922"/>
            <ac:picMk id="68" creationId="{2586867F-73B0-53E1-CB60-DA2602CB3F78}"/>
          </ac:picMkLst>
        </pc:picChg>
      </pc:sldChg>
      <pc:sldChg chg="del">
        <pc:chgData name="Moris Montejo" userId="55e843e1-b95f-4cc0-a457-c4d5fafa72c5" providerId="ADAL" clId="{C7B19B88-03A4-47F3-843E-E5AFCD3D7735}" dt="2023-05-04T20:46:38.284" v="2868" actId="2696"/>
        <pc:sldMkLst>
          <pc:docMk/>
          <pc:sldMk cId="1907024705" sldId="2147469922"/>
        </pc:sldMkLst>
      </pc:sldChg>
      <pc:sldChg chg="del">
        <pc:chgData name="Moris Montejo" userId="55e843e1-b95f-4cc0-a457-c4d5fafa72c5" providerId="ADAL" clId="{C7B19B88-03A4-47F3-843E-E5AFCD3D7735}" dt="2023-05-04T20:46:42.633" v="2869" actId="2696"/>
        <pc:sldMkLst>
          <pc:docMk/>
          <pc:sldMk cId="1987385159" sldId="2147469923"/>
        </pc:sldMkLst>
      </pc:sldChg>
      <pc:sldChg chg="addSp delSp modSp add del mod">
        <pc:chgData name="Moris Montejo" userId="55e843e1-b95f-4cc0-a457-c4d5fafa72c5" providerId="ADAL" clId="{C7B19B88-03A4-47F3-843E-E5AFCD3D7735}" dt="2023-05-04T21:34:21.737" v="3460" actId="47"/>
        <pc:sldMkLst>
          <pc:docMk/>
          <pc:sldMk cId="3228881487" sldId="2147469923"/>
        </pc:sldMkLst>
        <pc:spChg chg="del">
          <ac:chgData name="Moris Montejo" userId="55e843e1-b95f-4cc0-a457-c4d5fafa72c5" providerId="ADAL" clId="{C7B19B88-03A4-47F3-843E-E5AFCD3D7735}" dt="2023-05-04T21:11:30.946" v="3308" actId="478"/>
          <ac:spMkLst>
            <pc:docMk/>
            <pc:sldMk cId="3228881487" sldId="2147469923"/>
            <ac:spMk id="51" creationId="{935EF5CF-7F22-F95E-2E1D-8052A0AFBA9C}"/>
          </ac:spMkLst>
        </pc:spChg>
        <pc:grpChg chg="del">
          <ac:chgData name="Moris Montejo" userId="55e843e1-b95f-4cc0-a457-c4d5fafa72c5" providerId="ADAL" clId="{C7B19B88-03A4-47F3-843E-E5AFCD3D7735}" dt="2023-05-04T21:00:41.740" v="3212" actId="478"/>
          <ac:grpSpMkLst>
            <pc:docMk/>
            <pc:sldMk cId="3228881487" sldId="2147469923"/>
            <ac:grpSpMk id="4" creationId="{01EC8050-95F2-2AD2-6542-9E5440D0AA9D}"/>
          </ac:grpSpMkLst>
        </pc:grpChg>
        <pc:grpChg chg="del">
          <ac:chgData name="Moris Montejo" userId="55e843e1-b95f-4cc0-a457-c4d5fafa72c5" providerId="ADAL" clId="{C7B19B88-03A4-47F3-843E-E5AFCD3D7735}" dt="2023-05-04T21:00:43.176" v="3213" actId="478"/>
          <ac:grpSpMkLst>
            <pc:docMk/>
            <pc:sldMk cId="3228881487" sldId="2147469923"/>
            <ac:grpSpMk id="37" creationId="{AD1DDED3-9BC7-FADF-EF9A-8C73D300C4AC}"/>
          </ac:grpSpMkLst>
        </pc:grpChg>
        <pc:grpChg chg="del">
          <ac:chgData name="Moris Montejo" userId="55e843e1-b95f-4cc0-a457-c4d5fafa72c5" providerId="ADAL" clId="{C7B19B88-03A4-47F3-843E-E5AFCD3D7735}" dt="2023-05-04T21:00:44.801" v="3214" actId="478"/>
          <ac:grpSpMkLst>
            <pc:docMk/>
            <pc:sldMk cId="3228881487" sldId="2147469923"/>
            <ac:grpSpMk id="43" creationId="{E397C03B-ABC6-9BB4-A5D8-BE91104C8202}"/>
          </ac:grpSpMkLst>
        </pc:grpChg>
        <pc:grpChg chg="del">
          <ac:chgData name="Moris Montejo" userId="55e843e1-b95f-4cc0-a457-c4d5fafa72c5" providerId="ADAL" clId="{C7B19B88-03A4-47F3-843E-E5AFCD3D7735}" dt="2023-05-04T21:11:32.831" v="3309" actId="478"/>
          <ac:grpSpMkLst>
            <pc:docMk/>
            <pc:sldMk cId="3228881487" sldId="2147469923"/>
            <ac:grpSpMk id="48" creationId="{2A72696C-E758-97D1-5D79-6D88D8B82AF8}"/>
          </ac:grpSpMkLst>
        </pc:grpChg>
        <pc:grpChg chg="del">
          <ac:chgData name="Moris Montejo" userId="55e843e1-b95f-4cc0-a457-c4d5fafa72c5" providerId="ADAL" clId="{C7B19B88-03A4-47F3-843E-E5AFCD3D7735}" dt="2023-05-04T21:11:25.897" v="3306" actId="478"/>
          <ac:grpSpMkLst>
            <pc:docMk/>
            <pc:sldMk cId="3228881487" sldId="2147469923"/>
            <ac:grpSpMk id="53" creationId="{CAD8480B-F736-C83D-951D-F04FEBA8807E}"/>
          </ac:grpSpMkLst>
        </pc:grpChg>
        <pc:grpChg chg="del">
          <ac:chgData name="Moris Montejo" userId="55e843e1-b95f-4cc0-a457-c4d5fafa72c5" providerId="ADAL" clId="{C7B19B88-03A4-47F3-843E-E5AFCD3D7735}" dt="2023-05-04T21:11:24.488" v="3304" actId="478"/>
          <ac:grpSpMkLst>
            <pc:docMk/>
            <pc:sldMk cId="3228881487" sldId="2147469923"/>
            <ac:grpSpMk id="57" creationId="{CF276F0C-3AAF-F309-A8EE-26D61F5B93BF}"/>
          </ac:grpSpMkLst>
        </pc:grpChg>
        <pc:grpChg chg="del">
          <ac:chgData name="Moris Montejo" userId="55e843e1-b95f-4cc0-a457-c4d5fafa72c5" providerId="ADAL" clId="{C7B19B88-03A4-47F3-843E-E5AFCD3D7735}" dt="2023-05-04T21:00:47.723" v="3217" actId="478"/>
          <ac:grpSpMkLst>
            <pc:docMk/>
            <pc:sldMk cId="3228881487" sldId="2147469923"/>
            <ac:grpSpMk id="61" creationId="{D705D787-CFE8-27B8-16C4-44FF95694EF7}"/>
          </ac:grpSpMkLst>
        </pc:grpChg>
        <pc:grpChg chg="del">
          <ac:chgData name="Moris Montejo" userId="55e843e1-b95f-4cc0-a457-c4d5fafa72c5" providerId="ADAL" clId="{C7B19B88-03A4-47F3-843E-E5AFCD3D7735}" dt="2023-05-04T21:00:46.656" v="3216" actId="478"/>
          <ac:grpSpMkLst>
            <pc:docMk/>
            <pc:sldMk cId="3228881487" sldId="2147469923"/>
            <ac:grpSpMk id="65" creationId="{92090BBD-6F7E-1AB5-41B0-A33965334921}"/>
          </ac:grpSpMkLst>
        </pc:grpChg>
        <pc:picChg chg="add mod">
          <ac:chgData name="Moris Montejo" userId="55e843e1-b95f-4cc0-a457-c4d5fafa72c5" providerId="ADAL" clId="{C7B19B88-03A4-47F3-843E-E5AFCD3D7735}" dt="2023-05-04T21:13:04.380" v="3312" actId="14100"/>
          <ac:picMkLst>
            <pc:docMk/>
            <pc:sldMk cId="3228881487" sldId="2147469923"/>
            <ac:picMk id="7" creationId="{5D610426-DC11-6C92-4A11-685986A1F880}"/>
          </ac:picMkLst>
        </pc:picChg>
        <pc:picChg chg="mod topLvl">
          <ac:chgData name="Moris Montejo" userId="55e843e1-b95f-4cc0-a457-c4d5fafa72c5" providerId="ADAL" clId="{C7B19B88-03A4-47F3-843E-E5AFCD3D7735}" dt="2023-05-04T21:13:08.449" v="3313" actId="14100"/>
          <ac:picMkLst>
            <pc:docMk/>
            <pc:sldMk cId="3228881487" sldId="2147469923"/>
            <ac:picMk id="49" creationId="{FAC37D43-D058-050A-694F-2BAFFF8FE700}"/>
          </ac:picMkLst>
        </pc:picChg>
        <pc:picChg chg="del topLvl">
          <ac:chgData name="Moris Montejo" userId="55e843e1-b95f-4cc0-a457-c4d5fafa72c5" providerId="ADAL" clId="{C7B19B88-03A4-47F3-843E-E5AFCD3D7735}" dt="2023-05-04T21:11:32.831" v="3309" actId="478"/>
          <ac:picMkLst>
            <pc:docMk/>
            <pc:sldMk cId="3228881487" sldId="2147469923"/>
            <ac:picMk id="50" creationId="{6CEA7C19-AADB-E70B-34A5-92A163C03917}"/>
          </ac:picMkLst>
        </pc:picChg>
        <pc:picChg chg="del">
          <ac:chgData name="Moris Montejo" userId="55e843e1-b95f-4cc0-a457-c4d5fafa72c5" providerId="ADAL" clId="{C7B19B88-03A4-47F3-843E-E5AFCD3D7735}" dt="2023-05-04T21:11:27.069" v="3307" actId="478"/>
          <ac:picMkLst>
            <pc:docMk/>
            <pc:sldMk cId="3228881487" sldId="2147469923"/>
            <ac:picMk id="52" creationId="{BF89D65D-184A-5810-4E98-15E2164096CE}"/>
          </ac:picMkLst>
        </pc:picChg>
        <pc:picChg chg="del">
          <ac:chgData name="Moris Montejo" userId="55e843e1-b95f-4cc0-a457-c4d5fafa72c5" providerId="ADAL" clId="{C7B19B88-03A4-47F3-843E-E5AFCD3D7735}" dt="2023-05-04T21:11:24.943" v="3305" actId="478"/>
          <ac:picMkLst>
            <pc:docMk/>
            <pc:sldMk cId="3228881487" sldId="2147469923"/>
            <ac:picMk id="56" creationId="{B2BB215A-2F14-78A5-8F18-41E57DDF48EE}"/>
          </ac:picMkLst>
        </pc:picChg>
        <pc:picChg chg="del">
          <ac:chgData name="Moris Montejo" userId="55e843e1-b95f-4cc0-a457-c4d5fafa72c5" providerId="ADAL" clId="{C7B19B88-03A4-47F3-843E-E5AFCD3D7735}" dt="2023-05-04T21:11:23.769" v="3303" actId="478"/>
          <ac:picMkLst>
            <pc:docMk/>
            <pc:sldMk cId="3228881487" sldId="2147469923"/>
            <ac:picMk id="60" creationId="{C42FE6EE-405F-485B-660F-C0DB97940B59}"/>
          </ac:picMkLst>
        </pc:picChg>
        <pc:picChg chg="del">
          <ac:chgData name="Moris Montejo" userId="55e843e1-b95f-4cc0-a457-c4d5fafa72c5" providerId="ADAL" clId="{C7B19B88-03A4-47F3-843E-E5AFCD3D7735}" dt="2023-05-04T21:00:48.439" v="3218" actId="478"/>
          <ac:picMkLst>
            <pc:docMk/>
            <pc:sldMk cId="3228881487" sldId="2147469923"/>
            <ac:picMk id="64" creationId="{7DC06B80-A7EC-155C-4910-EC92197DE98F}"/>
          </ac:picMkLst>
        </pc:picChg>
        <pc:picChg chg="del">
          <ac:chgData name="Moris Montejo" userId="55e843e1-b95f-4cc0-a457-c4d5fafa72c5" providerId="ADAL" clId="{C7B19B88-03A4-47F3-843E-E5AFCD3D7735}" dt="2023-05-04T21:00:45.955" v="3215" actId="478"/>
          <ac:picMkLst>
            <pc:docMk/>
            <pc:sldMk cId="3228881487" sldId="2147469923"/>
            <ac:picMk id="68" creationId="{2586867F-73B0-53E1-CB60-DA2602CB3F78}"/>
          </ac:picMkLst>
        </pc:picChg>
      </pc:sldChg>
      <pc:sldChg chg="addSp delSp modSp add mod delAnim modAnim modNotesTx">
        <pc:chgData name="Moris Montejo" userId="55e843e1-b95f-4cc0-a457-c4d5fafa72c5" providerId="ADAL" clId="{C7B19B88-03A4-47F3-843E-E5AFCD3D7735}" dt="2023-05-04T21:41:06.956" v="3499" actId="1036"/>
        <pc:sldMkLst>
          <pc:docMk/>
          <pc:sldMk cId="1412143473" sldId="2147469924"/>
        </pc:sldMkLst>
        <pc:spChg chg="mod">
          <ac:chgData name="Moris Montejo" userId="55e843e1-b95f-4cc0-a457-c4d5fafa72c5" providerId="ADAL" clId="{C7B19B88-03A4-47F3-843E-E5AFCD3D7735}" dt="2023-05-04T21:35:55.654" v="3476" actId="207"/>
          <ac:spMkLst>
            <pc:docMk/>
            <pc:sldMk cId="1412143473" sldId="2147469924"/>
            <ac:spMk id="6" creationId="{2029175F-9C15-B841-061D-D345BC51A931}"/>
          </ac:spMkLst>
        </pc:spChg>
        <pc:spChg chg="mod">
          <ac:chgData name="Moris Montejo" userId="55e843e1-b95f-4cc0-a457-c4d5fafa72c5" providerId="ADAL" clId="{C7B19B88-03A4-47F3-843E-E5AFCD3D7735}" dt="2023-05-04T21:02:26.292" v="3227"/>
          <ac:spMkLst>
            <pc:docMk/>
            <pc:sldMk cId="1412143473" sldId="2147469924"/>
            <ac:spMk id="8" creationId="{A43FDD7D-DF45-4D2C-E540-D6A3853B0EE6}"/>
          </ac:spMkLst>
        </pc:spChg>
        <pc:spChg chg="mod">
          <ac:chgData name="Moris Montejo" userId="55e843e1-b95f-4cc0-a457-c4d5fafa72c5" providerId="ADAL" clId="{C7B19B88-03A4-47F3-843E-E5AFCD3D7735}" dt="2023-05-04T21:02:51.329" v="3229"/>
          <ac:spMkLst>
            <pc:docMk/>
            <pc:sldMk cId="1412143473" sldId="2147469924"/>
            <ac:spMk id="11" creationId="{FF77F1A6-40B6-3221-61FF-24A62887313D}"/>
          </ac:spMkLst>
        </pc:spChg>
        <pc:spChg chg="mod">
          <ac:chgData name="Moris Montejo" userId="55e843e1-b95f-4cc0-a457-c4d5fafa72c5" providerId="ADAL" clId="{C7B19B88-03A4-47F3-843E-E5AFCD3D7735}" dt="2023-05-04T21:34:56.523" v="3467" actId="1076"/>
          <ac:spMkLst>
            <pc:docMk/>
            <pc:sldMk cId="1412143473" sldId="2147469924"/>
            <ac:spMk id="21" creationId="{8BFCD590-5CC7-638F-091B-EE6C4A2D695F}"/>
          </ac:spMkLst>
        </pc:spChg>
        <pc:spChg chg="mod">
          <ac:chgData name="Moris Montejo" userId="55e843e1-b95f-4cc0-a457-c4d5fafa72c5" providerId="ADAL" clId="{C7B19B88-03A4-47F3-843E-E5AFCD3D7735}" dt="2023-05-04T21:35:40.900" v="3473" actId="207"/>
          <ac:spMkLst>
            <pc:docMk/>
            <pc:sldMk cId="1412143473" sldId="2147469924"/>
            <ac:spMk id="24" creationId="{79475ECA-8801-49F7-930D-0DC517F2EC01}"/>
          </ac:spMkLst>
        </pc:spChg>
        <pc:spChg chg="mod">
          <ac:chgData name="Moris Montejo" userId="55e843e1-b95f-4cc0-a457-c4d5fafa72c5" providerId="ADAL" clId="{C7B19B88-03A4-47F3-843E-E5AFCD3D7735}" dt="2023-05-04T21:35:37.683" v="3472" actId="207"/>
          <ac:spMkLst>
            <pc:docMk/>
            <pc:sldMk cId="1412143473" sldId="2147469924"/>
            <ac:spMk id="27" creationId="{E84D81DF-B523-451B-846C-EDC559C8E170}"/>
          </ac:spMkLst>
        </pc:spChg>
        <pc:spChg chg="mod">
          <ac:chgData name="Moris Montejo" userId="55e843e1-b95f-4cc0-a457-c4d5fafa72c5" providerId="ADAL" clId="{C7B19B88-03A4-47F3-843E-E5AFCD3D7735}" dt="2023-05-04T21:06:57.722" v="3258"/>
          <ac:spMkLst>
            <pc:docMk/>
            <pc:sldMk cId="1412143473" sldId="2147469924"/>
            <ac:spMk id="28" creationId="{534229BC-1D11-8687-961E-F48FA9E0CEF0}"/>
          </ac:spMkLst>
        </pc:spChg>
        <pc:spChg chg="mod">
          <ac:chgData name="Moris Montejo" userId="55e843e1-b95f-4cc0-a457-c4d5fafa72c5" providerId="ADAL" clId="{C7B19B88-03A4-47F3-843E-E5AFCD3D7735}" dt="2023-05-04T21:35:12.291" v="3470" actId="1076"/>
          <ac:spMkLst>
            <pc:docMk/>
            <pc:sldMk cId="1412143473" sldId="2147469924"/>
            <ac:spMk id="36" creationId="{24FB2908-40B5-6C7E-01C9-1911A2C1787A}"/>
          </ac:spMkLst>
        </pc:spChg>
        <pc:spChg chg="mod">
          <ac:chgData name="Moris Montejo" userId="55e843e1-b95f-4cc0-a457-c4d5fafa72c5" providerId="ADAL" clId="{C7B19B88-03A4-47F3-843E-E5AFCD3D7735}" dt="2023-05-04T21:36:00.143" v="3477" actId="207"/>
          <ac:spMkLst>
            <pc:docMk/>
            <pc:sldMk cId="1412143473" sldId="2147469924"/>
            <ac:spMk id="44" creationId="{17F97D6C-5F9A-A39F-290D-2A5FA827169A}"/>
          </ac:spMkLst>
        </pc:spChg>
        <pc:spChg chg="del mod">
          <ac:chgData name="Moris Montejo" userId="55e843e1-b95f-4cc0-a457-c4d5fafa72c5" providerId="ADAL" clId="{C7B19B88-03A4-47F3-843E-E5AFCD3D7735}" dt="2023-05-04T21:15:15.466" v="3331" actId="478"/>
          <ac:spMkLst>
            <pc:docMk/>
            <pc:sldMk cId="1412143473" sldId="2147469924"/>
            <ac:spMk id="70" creationId="{E71EC4D9-DA5E-E70E-B4C4-22C26FE58AB4}"/>
          </ac:spMkLst>
        </pc:spChg>
        <pc:grpChg chg="mod">
          <ac:chgData name="Moris Montejo" userId="55e843e1-b95f-4cc0-a457-c4d5fafa72c5" providerId="ADAL" clId="{C7B19B88-03A4-47F3-843E-E5AFCD3D7735}" dt="2023-05-04T21:34:35.058" v="3462" actId="1076"/>
          <ac:grpSpMkLst>
            <pc:docMk/>
            <pc:sldMk cId="1412143473" sldId="2147469924"/>
            <ac:grpSpMk id="4" creationId="{01EC8050-95F2-2AD2-6542-9E5440D0AA9D}"/>
          </ac:grpSpMkLst>
        </pc:grpChg>
        <pc:grpChg chg="add del mod">
          <ac:chgData name="Moris Montejo" userId="55e843e1-b95f-4cc0-a457-c4d5fafa72c5" providerId="ADAL" clId="{C7B19B88-03A4-47F3-843E-E5AFCD3D7735}" dt="2023-05-04T21:07:43.695" v="3265" actId="478"/>
          <ac:grpSpMkLst>
            <pc:docMk/>
            <pc:sldMk cId="1412143473" sldId="2147469924"/>
            <ac:grpSpMk id="5" creationId="{251F434F-37AD-E624-194F-E3993B667FEB}"/>
          </ac:grpSpMkLst>
        </pc:grpChg>
        <pc:grpChg chg="add del mod">
          <ac:chgData name="Moris Montejo" userId="55e843e1-b95f-4cc0-a457-c4d5fafa72c5" providerId="ADAL" clId="{C7B19B88-03A4-47F3-843E-E5AFCD3D7735}" dt="2023-05-04T21:02:52.644" v="3230"/>
          <ac:grpSpMkLst>
            <pc:docMk/>
            <pc:sldMk cId="1412143473" sldId="2147469924"/>
            <ac:grpSpMk id="9" creationId="{03CF9314-CB56-D228-D8A8-8E308589F039}"/>
          </ac:grpSpMkLst>
        </pc:grpChg>
        <pc:grpChg chg="add del mod ord">
          <ac:chgData name="Moris Montejo" userId="55e843e1-b95f-4cc0-a457-c4d5fafa72c5" providerId="ADAL" clId="{C7B19B88-03A4-47F3-843E-E5AFCD3D7735}" dt="2023-05-04T21:07:32.625" v="3261" actId="478"/>
          <ac:grpSpMkLst>
            <pc:docMk/>
            <pc:sldMk cId="1412143473" sldId="2147469924"/>
            <ac:grpSpMk id="14" creationId="{857D9762-AAA3-78BE-3D0E-848B6324E4E5}"/>
          </ac:grpSpMkLst>
        </pc:grpChg>
        <pc:grpChg chg="mod">
          <ac:chgData name="Moris Montejo" userId="55e843e1-b95f-4cc0-a457-c4d5fafa72c5" providerId="ADAL" clId="{C7B19B88-03A4-47F3-843E-E5AFCD3D7735}" dt="2023-05-04T21:19:05.367" v="3365" actId="1076"/>
          <ac:grpSpMkLst>
            <pc:docMk/>
            <pc:sldMk cId="1412143473" sldId="2147469924"/>
            <ac:grpSpMk id="15" creationId="{A32F9CFA-C507-48FE-A52A-AC6FB577A654}"/>
          </ac:grpSpMkLst>
        </pc:grpChg>
        <pc:grpChg chg="mod">
          <ac:chgData name="Moris Montejo" userId="55e843e1-b95f-4cc0-a457-c4d5fafa72c5" providerId="ADAL" clId="{C7B19B88-03A4-47F3-843E-E5AFCD3D7735}" dt="2023-05-04T21:34:30.236" v="3461" actId="1076"/>
          <ac:grpSpMkLst>
            <pc:docMk/>
            <pc:sldMk cId="1412143473" sldId="2147469924"/>
            <ac:grpSpMk id="23" creationId="{49BB6552-08F9-4DB7-8068-57DB8F98D4B4}"/>
          </ac:grpSpMkLst>
        </pc:grpChg>
        <pc:grpChg chg="mod">
          <ac:chgData name="Moris Montejo" userId="55e843e1-b95f-4cc0-a457-c4d5fafa72c5" providerId="ADAL" clId="{C7B19B88-03A4-47F3-843E-E5AFCD3D7735}" dt="2023-05-04T21:19:07.457" v="3366" actId="1076"/>
          <ac:grpSpMkLst>
            <pc:docMk/>
            <pc:sldMk cId="1412143473" sldId="2147469924"/>
            <ac:grpSpMk id="26" creationId="{986256A6-BC67-4D48-9FD6-19D46B73975F}"/>
          </ac:grpSpMkLst>
        </pc:grpChg>
        <pc:grpChg chg="add del mod">
          <ac:chgData name="Moris Montejo" userId="55e843e1-b95f-4cc0-a457-c4d5fafa72c5" providerId="ADAL" clId="{C7B19B88-03A4-47F3-843E-E5AFCD3D7735}" dt="2023-05-04T21:15:18.792" v="3332" actId="478"/>
          <ac:grpSpMkLst>
            <pc:docMk/>
            <pc:sldMk cId="1412143473" sldId="2147469924"/>
            <ac:grpSpMk id="35" creationId="{ADE6B780-9F78-351A-9561-799BBB07A05C}"/>
          </ac:grpSpMkLst>
        </pc:grpChg>
        <pc:grpChg chg="add del mod">
          <ac:chgData name="Moris Montejo" userId="55e843e1-b95f-4cc0-a457-c4d5fafa72c5" providerId="ADAL" clId="{C7B19B88-03A4-47F3-843E-E5AFCD3D7735}" dt="2023-05-04T21:34:38.103" v="3463" actId="1076"/>
          <ac:grpSpMkLst>
            <pc:docMk/>
            <pc:sldMk cId="1412143473" sldId="2147469924"/>
            <ac:grpSpMk id="37" creationId="{AD1DDED3-9BC7-FADF-EF9A-8C73D300C4AC}"/>
          </ac:grpSpMkLst>
        </pc:grpChg>
        <pc:grpChg chg="mod">
          <ac:chgData name="Moris Montejo" userId="55e843e1-b95f-4cc0-a457-c4d5fafa72c5" providerId="ADAL" clId="{C7B19B88-03A4-47F3-843E-E5AFCD3D7735}" dt="2023-05-04T21:34:48.711" v="3466" actId="1076"/>
          <ac:grpSpMkLst>
            <pc:docMk/>
            <pc:sldMk cId="1412143473" sldId="2147469924"/>
            <ac:grpSpMk id="43" creationId="{E397C03B-ABC6-9BB4-A5D8-BE91104C8202}"/>
          </ac:grpSpMkLst>
        </pc:grpChg>
        <pc:grpChg chg="del mod">
          <ac:chgData name="Moris Montejo" userId="55e843e1-b95f-4cc0-a457-c4d5fafa72c5" providerId="ADAL" clId="{C7B19B88-03A4-47F3-843E-E5AFCD3D7735}" dt="2023-05-04T21:07:34.969" v="3262" actId="478"/>
          <ac:grpSpMkLst>
            <pc:docMk/>
            <pc:sldMk cId="1412143473" sldId="2147469924"/>
            <ac:grpSpMk id="48" creationId="{2A72696C-E758-97D1-5D79-6D88D8B82AF8}"/>
          </ac:grpSpMkLst>
        </pc:grpChg>
        <pc:grpChg chg="del mod">
          <ac:chgData name="Moris Montejo" userId="55e843e1-b95f-4cc0-a457-c4d5fafa72c5" providerId="ADAL" clId="{C7B19B88-03A4-47F3-843E-E5AFCD3D7735}" dt="2023-05-04T21:07:38.846" v="3263" actId="478"/>
          <ac:grpSpMkLst>
            <pc:docMk/>
            <pc:sldMk cId="1412143473" sldId="2147469924"/>
            <ac:grpSpMk id="53" creationId="{CAD8480B-F736-C83D-951D-F04FEBA8807E}"/>
          </ac:grpSpMkLst>
        </pc:grpChg>
        <pc:grpChg chg="del mod">
          <ac:chgData name="Moris Montejo" userId="55e843e1-b95f-4cc0-a457-c4d5fafa72c5" providerId="ADAL" clId="{C7B19B88-03A4-47F3-843E-E5AFCD3D7735}" dt="2023-05-04T21:07:47.477" v="3271" actId="478"/>
          <ac:grpSpMkLst>
            <pc:docMk/>
            <pc:sldMk cId="1412143473" sldId="2147469924"/>
            <ac:grpSpMk id="57" creationId="{CF276F0C-3AAF-F309-A8EE-26D61F5B93BF}"/>
          </ac:grpSpMkLst>
        </pc:grpChg>
        <pc:grpChg chg="del mod">
          <ac:chgData name="Moris Montejo" userId="55e843e1-b95f-4cc0-a457-c4d5fafa72c5" providerId="ADAL" clId="{C7B19B88-03A4-47F3-843E-E5AFCD3D7735}" dt="2023-05-04T21:07:46.217" v="3269" actId="478"/>
          <ac:grpSpMkLst>
            <pc:docMk/>
            <pc:sldMk cId="1412143473" sldId="2147469924"/>
            <ac:grpSpMk id="61" creationId="{D705D787-CFE8-27B8-16C4-44FF95694EF7}"/>
          </ac:grpSpMkLst>
        </pc:grpChg>
        <pc:grpChg chg="del mod">
          <ac:chgData name="Moris Montejo" userId="55e843e1-b95f-4cc0-a457-c4d5fafa72c5" providerId="ADAL" clId="{C7B19B88-03A4-47F3-843E-E5AFCD3D7735}" dt="2023-05-04T21:07:45.116" v="3267" actId="478"/>
          <ac:grpSpMkLst>
            <pc:docMk/>
            <pc:sldMk cId="1412143473" sldId="2147469924"/>
            <ac:grpSpMk id="65" creationId="{92090BBD-6F7E-1AB5-41B0-A33965334921}"/>
          </ac:grpSpMkLst>
        </pc:grpChg>
        <pc:picChg chg="mod">
          <ac:chgData name="Moris Montejo" userId="55e843e1-b95f-4cc0-a457-c4d5fafa72c5" providerId="ADAL" clId="{C7B19B88-03A4-47F3-843E-E5AFCD3D7735}" dt="2023-05-04T21:02:26.292" v="3227"/>
          <ac:picMkLst>
            <pc:docMk/>
            <pc:sldMk cId="1412143473" sldId="2147469924"/>
            <ac:picMk id="7" creationId="{A9CE242D-E56A-CAD4-6028-598BA8B237F8}"/>
          </ac:picMkLst>
        </pc:picChg>
        <pc:picChg chg="mod">
          <ac:chgData name="Moris Montejo" userId="55e843e1-b95f-4cc0-a457-c4d5fafa72c5" providerId="ADAL" clId="{C7B19B88-03A4-47F3-843E-E5AFCD3D7735}" dt="2023-05-04T21:02:51.329" v="3229"/>
          <ac:picMkLst>
            <pc:docMk/>
            <pc:sldMk cId="1412143473" sldId="2147469924"/>
            <ac:picMk id="10" creationId="{F7656635-94FF-E524-A08E-2CF7868C7504}"/>
          </ac:picMkLst>
        </pc:picChg>
        <pc:picChg chg="add del mod">
          <ac:chgData name="Moris Montejo" userId="55e843e1-b95f-4cc0-a457-c4d5fafa72c5" providerId="ADAL" clId="{C7B19B88-03A4-47F3-843E-E5AFCD3D7735}" dt="2023-05-04T21:07:42.040" v="3264" actId="478"/>
          <ac:picMkLst>
            <pc:docMk/>
            <pc:sldMk cId="1412143473" sldId="2147469924"/>
            <ac:picMk id="12" creationId="{45B60259-78E1-1DE6-7748-82DA074B337A}"/>
          </ac:picMkLst>
        </pc:picChg>
        <pc:picChg chg="mod">
          <ac:chgData name="Moris Montejo" userId="55e843e1-b95f-4cc0-a457-c4d5fafa72c5" providerId="ADAL" clId="{C7B19B88-03A4-47F3-843E-E5AFCD3D7735}" dt="2023-05-04T21:06:57.722" v="3258"/>
          <ac:picMkLst>
            <pc:docMk/>
            <pc:sldMk cId="1412143473" sldId="2147469924"/>
            <ac:picMk id="20" creationId="{7E24BC03-659E-BA94-18E4-406F461AF62D}"/>
          </ac:picMkLst>
        </pc:picChg>
        <pc:picChg chg="mod">
          <ac:chgData name="Moris Montejo" userId="55e843e1-b95f-4cc0-a457-c4d5fafa72c5" providerId="ADAL" clId="{C7B19B88-03A4-47F3-843E-E5AFCD3D7735}" dt="2023-05-04T21:06:57.722" v="3258"/>
          <ac:picMkLst>
            <pc:docMk/>
            <pc:sldMk cId="1412143473" sldId="2147469924"/>
            <ac:picMk id="22" creationId="{A710F88E-CE50-CCBA-59B3-7B0668283D85}"/>
          </ac:picMkLst>
        </pc:picChg>
        <pc:picChg chg="add del mod ord">
          <ac:chgData name="Moris Montejo" userId="55e843e1-b95f-4cc0-a457-c4d5fafa72c5" providerId="ADAL" clId="{C7B19B88-03A4-47F3-843E-E5AFCD3D7735}" dt="2023-05-04T21:07:48.950" v="3273" actId="478"/>
          <ac:picMkLst>
            <pc:docMk/>
            <pc:sldMk cId="1412143473" sldId="2147469924"/>
            <ac:picMk id="34" creationId="{705D69D9-7622-7F4F-84BC-31B6B80CA6FB}"/>
          </ac:picMkLst>
        </pc:picChg>
        <pc:picChg chg="mod topLvl">
          <ac:chgData name="Moris Montejo" userId="55e843e1-b95f-4cc0-a457-c4d5fafa72c5" providerId="ADAL" clId="{C7B19B88-03A4-47F3-843E-E5AFCD3D7735}" dt="2023-05-04T21:32:04.489" v="3441" actId="1076"/>
          <ac:picMkLst>
            <pc:docMk/>
            <pc:sldMk cId="1412143473" sldId="2147469924"/>
            <ac:picMk id="38" creationId="{70294C1C-F2E3-DB1F-AF1F-D408C25064A8}"/>
          </ac:picMkLst>
        </pc:picChg>
        <pc:picChg chg="del">
          <ac:chgData name="Moris Montejo" userId="55e843e1-b95f-4cc0-a457-c4d5fafa72c5" providerId="ADAL" clId="{C7B19B88-03A4-47F3-843E-E5AFCD3D7735}" dt="2023-05-04T21:06:51.462" v="3256" actId="478"/>
          <ac:picMkLst>
            <pc:docMk/>
            <pc:sldMk cId="1412143473" sldId="2147469924"/>
            <ac:picMk id="49" creationId="{FAC37D43-D058-050A-694F-2BAFFF8FE700}"/>
          </ac:picMkLst>
        </pc:picChg>
        <pc:picChg chg="del mod">
          <ac:chgData name="Moris Montejo" userId="55e843e1-b95f-4cc0-a457-c4d5fafa72c5" providerId="ADAL" clId="{C7B19B88-03A4-47F3-843E-E5AFCD3D7735}" dt="2023-05-04T21:06:56.292" v="3257" actId="478"/>
          <ac:picMkLst>
            <pc:docMk/>
            <pc:sldMk cId="1412143473" sldId="2147469924"/>
            <ac:picMk id="52" creationId="{BF89D65D-184A-5810-4E98-15E2164096CE}"/>
          </ac:picMkLst>
        </pc:picChg>
        <pc:picChg chg="del mod">
          <ac:chgData name="Moris Montejo" userId="55e843e1-b95f-4cc0-a457-c4d5fafa72c5" providerId="ADAL" clId="{C7B19B88-03A4-47F3-843E-E5AFCD3D7735}" dt="2023-05-04T21:07:48.340" v="3272" actId="478"/>
          <ac:picMkLst>
            <pc:docMk/>
            <pc:sldMk cId="1412143473" sldId="2147469924"/>
            <ac:picMk id="56" creationId="{B2BB215A-2F14-78A5-8F18-41E57DDF48EE}"/>
          </ac:picMkLst>
        </pc:picChg>
        <pc:picChg chg="del mod">
          <ac:chgData name="Moris Montejo" userId="55e843e1-b95f-4cc0-a457-c4d5fafa72c5" providerId="ADAL" clId="{C7B19B88-03A4-47F3-843E-E5AFCD3D7735}" dt="2023-05-04T21:07:46.792" v="3270" actId="478"/>
          <ac:picMkLst>
            <pc:docMk/>
            <pc:sldMk cId="1412143473" sldId="2147469924"/>
            <ac:picMk id="60" creationId="{C42FE6EE-405F-485B-660F-C0DB97940B59}"/>
          </ac:picMkLst>
        </pc:picChg>
        <pc:picChg chg="del mod">
          <ac:chgData name="Moris Montejo" userId="55e843e1-b95f-4cc0-a457-c4d5fafa72c5" providerId="ADAL" clId="{C7B19B88-03A4-47F3-843E-E5AFCD3D7735}" dt="2023-05-04T21:07:45.732" v="3268" actId="478"/>
          <ac:picMkLst>
            <pc:docMk/>
            <pc:sldMk cId="1412143473" sldId="2147469924"/>
            <ac:picMk id="64" creationId="{7DC06B80-A7EC-155C-4910-EC92197DE98F}"/>
          </ac:picMkLst>
        </pc:picChg>
        <pc:picChg chg="del mod">
          <ac:chgData name="Moris Montejo" userId="55e843e1-b95f-4cc0-a457-c4d5fafa72c5" providerId="ADAL" clId="{C7B19B88-03A4-47F3-843E-E5AFCD3D7735}" dt="2023-05-04T21:07:44.255" v="3266" actId="478"/>
          <ac:picMkLst>
            <pc:docMk/>
            <pc:sldMk cId="1412143473" sldId="2147469924"/>
            <ac:picMk id="68" creationId="{2586867F-73B0-53E1-CB60-DA2602CB3F78}"/>
          </ac:picMkLst>
        </pc:picChg>
        <pc:picChg chg="del mod topLvl">
          <ac:chgData name="Moris Montejo" userId="55e843e1-b95f-4cc0-a457-c4d5fafa72c5" providerId="ADAL" clId="{C7B19B88-03A4-47F3-843E-E5AFCD3D7735}" dt="2023-05-04T21:15:18.792" v="3332" actId="478"/>
          <ac:picMkLst>
            <pc:docMk/>
            <pc:sldMk cId="1412143473" sldId="2147469924"/>
            <ac:picMk id="69" creationId="{30FC4336-A7A4-A2A3-7603-D392C0B32B37}"/>
          </ac:picMkLst>
        </pc:picChg>
        <pc:picChg chg="add mod">
          <ac:chgData name="Moris Montejo" userId="55e843e1-b95f-4cc0-a457-c4d5fafa72c5" providerId="ADAL" clId="{C7B19B88-03A4-47F3-843E-E5AFCD3D7735}" dt="2023-05-04T21:41:06.956" v="3499" actId="1036"/>
          <ac:picMkLst>
            <pc:docMk/>
            <pc:sldMk cId="1412143473" sldId="2147469924"/>
            <ac:picMk id="71" creationId="{9A232ABA-54F5-F17B-A790-96AED5EB64C9}"/>
          </ac:picMkLst>
        </pc:picChg>
        <pc:picChg chg="add mod">
          <ac:chgData name="Moris Montejo" userId="55e843e1-b95f-4cc0-a457-c4d5fafa72c5" providerId="ADAL" clId="{C7B19B88-03A4-47F3-843E-E5AFCD3D7735}" dt="2023-05-04T21:32:11.922" v="3443" actId="1076"/>
          <ac:picMkLst>
            <pc:docMk/>
            <pc:sldMk cId="1412143473" sldId="2147469924"/>
            <ac:picMk id="72" creationId="{D4021A20-1ABC-2A76-180A-5A98DEE27547}"/>
          </ac:picMkLst>
        </pc:picChg>
        <pc:picChg chg="add mod">
          <ac:chgData name="Moris Montejo" userId="55e843e1-b95f-4cc0-a457-c4d5fafa72c5" providerId="ADAL" clId="{C7B19B88-03A4-47F3-843E-E5AFCD3D7735}" dt="2023-05-04T21:32:18.827" v="3444" actId="1076"/>
          <ac:picMkLst>
            <pc:docMk/>
            <pc:sldMk cId="1412143473" sldId="2147469924"/>
            <ac:picMk id="73" creationId="{53478E81-EB67-0078-9424-1EB5E3543E5B}"/>
          </ac:picMkLst>
        </pc:picChg>
        <pc:picChg chg="add mod">
          <ac:chgData name="Moris Montejo" userId="55e843e1-b95f-4cc0-a457-c4d5fafa72c5" providerId="ADAL" clId="{C7B19B88-03A4-47F3-843E-E5AFCD3D7735}" dt="2023-05-04T21:32:22.124" v="3445" actId="1076"/>
          <ac:picMkLst>
            <pc:docMk/>
            <pc:sldMk cId="1412143473" sldId="2147469924"/>
            <ac:picMk id="74" creationId="{5204EAEB-7CCD-0658-ACC0-DF4C62C5DD90}"/>
          </ac:picMkLst>
        </pc:picChg>
        <pc:picChg chg="add mod">
          <ac:chgData name="Moris Montejo" userId="55e843e1-b95f-4cc0-a457-c4d5fafa72c5" providerId="ADAL" clId="{C7B19B88-03A4-47F3-843E-E5AFCD3D7735}" dt="2023-05-04T21:32:25.798" v="3446" actId="1076"/>
          <ac:picMkLst>
            <pc:docMk/>
            <pc:sldMk cId="1412143473" sldId="2147469924"/>
            <ac:picMk id="75" creationId="{9F56BDA0-62B7-834A-F677-B78BD53FE8B0}"/>
          </ac:picMkLst>
        </pc:picChg>
        <pc:picChg chg="add mod">
          <ac:chgData name="Moris Montejo" userId="55e843e1-b95f-4cc0-a457-c4d5fafa72c5" providerId="ADAL" clId="{C7B19B88-03A4-47F3-843E-E5AFCD3D7735}" dt="2023-05-04T21:32:28.526" v="3447" actId="1076"/>
          <ac:picMkLst>
            <pc:docMk/>
            <pc:sldMk cId="1412143473" sldId="2147469924"/>
            <ac:picMk id="76" creationId="{FC8AD79D-15F2-2148-595D-CFCA210D7C36}"/>
          </ac:picMkLst>
        </pc:picChg>
        <pc:picChg chg="add mod">
          <ac:chgData name="Moris Montejo" userId="55e843e1-b95f-4cc0-a457-c4d5fafa72c5" providerId="ADAL" clId="{C7B19B88-03A4-47F3-843E-E5AFCD3D7735}" dt="2023-05-04T21:32:37.090" v="3449" actId="1076"/>
          <ac:picMkLst>
            <pc:docMk/>
            <pc:sldMk cId="1412143473" sldId="2147469924"/>
            <ac:picMk id="78" creationId="{895EBF95-66D1-4E1E-7225-0C9BD5FB99A6}"/>
          </ac:picMkLst>
        </pc:picChg>
        <pc:picChg chg="add del mod">
          <ac:chgData name="Moris Montejo" userId="55e843e1-b95f-4cc0-a457-c4d5fafa72c5" providerId="ADAL" clId="{C7B19B88-03A4-47F3-843E-E5AFCD3D7735}" dt="2023-05-04T21:32:39.542" v="3450" actId="1076"/>
          <ac:picMkLst>
            <pc:docMk/>
            <pc:sldMk cId="1412143473" sldId="2147469924"/>
            <ac:picMk id="79" creationId="{0605FB5C-0F81-1BF1-EF60-C80E6EE95FAF}"/>
          </ac:picMkLst>
        </pc:picChg>
        <pc:picChg chg="add del mod">
          <ac:chgData name="Moris Montejo" userId="55e843e1-b95f-4cc0-a457-c4d5fafa72c5" providerId="ADAL" clId="{C7B19B88-03A4-47F3-843E-E5AFCD3D7735}" dt="2023-05-04T21:27:00.132" v="3407" actId="478"/>
          <ac:picMkLst>
            <pc:docMk/>
            <pc:sldMk cId="1412143473" sldId="2147469924"/>
            <ac:picMk id="81" creationId="{1DB7F932-645E-4C34-43A2-8E9AD2B114CD}"/>
          </ac:picMkLst>
        </pc:picChg>
        <pc:picChg chg="add del mod">
          <ac:chgData name="Moris Montejo" userId="55e843e1-b95f-4cc0-a457-c4d5fafa72c5" providerId="ADAL" clId="{C7B19B88-03A4-47F3-843E-E5AFCD3D7735}" dt="2023-05-04T21:26:45.345" v="3403" actId="478"/>
          <ac:picMkLst>
            <pc:docMk/>
            <pc:sldMk cId="1412143473" sldId="2147469924"/>
            <ac:picMk id="82" creationId="{0CACDB70-9714-40EF-9C2A-DCE8CC369B59}"/>
          </ac:picMkLst>
        </pc:picChg>
        <pc:picChg chg="add mod">
          <ac:chgData name="Moris Montejo" userId="55e843e1-b95f-4cc0-a457-c4d5fafa72c5" providerId="ADAL" clId="{C7B19B88-03A4-47F3-843E-E5AFCD3D7735}" dt="2023-05-04T21:32:43.730" v="3451" actId="1076"/>
          <ac:picMkLst>
            <pc:docMk/>
            <pc:sldMk cId="1412143473" sldId="2147469924"/>
            <ac:picMk id="84" creationId="{FD61B105-523A-39DC-9A31-F0453E79EE00}"/>
          </ac:picMkLst>
        </pc:picChg>
        <pc:picChg chg="add mod">
          <ac:chgData name="Moris Montejo" userId="55e843e1-b95f-4cc0-a457-c4d5fafa72c5" providerId="ADAL" clId="{C7B19B88-03A4-47F3-843E-E5AFCD3D7735}" dt="2023-05-04T21:33:43.469" v="3454" actId="1076"/>
          <ac:picMkLst>
            <pc:docMk/>
            <pc:sldMk cId="1412143473" sldId="2147469924"/>
            <ac:picMk id="85" creationId="{2CBC28D6-0EB5-E940-C406-7E2B697A37E2}"/>
          </ac:picMkLst>
        </pc:picChg>
        <pc:picChg chg="add del mod">
          <ac:chgData name="Moris Montejo" userId="55e843e1-b95f-4cc0-a457-c4d5fafa72c5" providerId="ADAL" clId="{C7B19B88-03A4-47F3-843E-E5AFCD3D7735}" dt="2023-05-04T21:29:37.321" v="3417" actId="478"/>
          <ac:picMkLst>
            <pc:docMk/>
            <pc:sldMk cId="1412143473" sldId="2147469924"/>
            <ac:picMk id="87" creationId="{EC10946E-33B3-658E-282B-6E3088647739}"/>
          </ac:picMkLst>
        </pc:picChg>
        <pc:picChg chg="add mod">
          <ac:chgData name="Moris Montejo" userId="55e843e1-b95f-4cc0-a457-c4d5fafa72c5" providerId="ADAL" clId="{C7B19B88-03A4-47F3-843E-E5AFCD3D7735}" dt="2023-05-04T21:33:49.778" v="3455" actId="1076"/>
          <ac:picMkLst>
            <pc:docMk/>
            <pc:sldMk cId="1412143473" sldId="2147469924"/>
            <ac:picMk id="89" creationId="{9395ECA7-F5A0-2DBA-357A-57B5E17E7155}"/>
          </ac:picMkLst>
        </pc:picChg>
        <pc:picChg chg="add mod">
          <ac:chgData name="Moris Montejo" userId="55e843e1-b95f-4cc0-a457-c4d5fafa72c5" providerId="ADAL" clId="{C7B19B88-03A4-47F3-843E-E5AFCD3D7735}" dt="2023-05-04T21:34:00.236" v="3456" actId="1076"/>
          <ac:picMkLst>
            <pc:docMk/>
            <pc:sldMk cId="1412143473" sldId="2147469924"/>
            <ac:picMk id="91" creationId="{996451F9-F054-F95B-2C9E-16A48F3D09C2}"/>
          </ac:picMkLst>
        </pc:picChg>
      </pc:sldChg>
      <pc:sldChg chg="modSp del mod">
        <pc:chgData name="Moris Montejo" userId="55e843e1-b95f-4cc0-a457-c4d5fafa72c5" providerId="ADAL" clId="{C7B19B88-03A4-47F3-843E-E5AFCD3D7735}" dt="2023-05-04T20:58:32.605" v="3169" actId="2696"/>
        <pc:sldMkLst>
          <pc:docMk/>
          <pc:sldMk cId="3652003517" sldId="2147469924"/>
        </pc:sldMkLst>
        <pc:spChg chg="mod">
          <ac:chgData name="Moris Montejo" userId="55e843e1-b95f-4cc0-a457-c4d5fafa72c5" providerId="ADAL" clId="{C7B19B88-03A4-47F3-843E-E5AFCD3D7735}" dt="2023-05-04T20:42:31.996" v="2462"/>
          <ac:spMkLst>
            <pc:docMk/>
            <pc:sldMk cId="3652003517" sldId="2147469924"/>
            <ac:spMk id="2" creationId="{00000000-0000-0000-0000-000000000000}"/>
          </ac:spMkLst>
        </pc:spChg>
      </pc:sldChg>
      <pc:sldChg chg="delSp add del mod">
        <pc:chgData name="Moris Montejo" userId="55e843e1-b95f-4cc0-a457-c4d5fafa72c5" providerId="ADAL" clId="{C7B19B88-03A4-47F3-843E-E5AFCD3D7735}" dt="2023-05-04T21:34:17.098" v="3458" actId="47"/>
        <pc:sldMkLst>
          <pc:docMk/>
          <pc:sldMk cId="626962370" sldId="2147469925"/>
        </pc:sldMkLst>
        <pc:grpChg chg="del">
          <ac:chgData name="Moris Montejo" userId="55e843e1-b95f-4cc0-a457-c4d5fafa72c5" providerId="ADAL" clId="{C7B19B88-03A4-47F3-843E-E5AFCD3D7735}" dt="2023-05-04T21:01:54.591" v="3221" actId="478"/>
          <ac:grpSpMkLst>
            <pc:docMk/>
            <pc:sldMk cId="626962370" sldId="2147469925"/>
            <ac:grpSpMk id="37" creationId="{AD1DDED3-9BC7-FADF-EF9A-8C73D300C4AC}"/>
          </ac:grpSpMkLst>
        </pc:grpChg>
        <pc:grpChg chg="del">
          <ac:chgData name="Moris Montejo" userId="55e843e1-b95f-4cc0-a457-c4d5fafa72c5" providerId="ADAL" clId="{C7B19B88-03A4-47F3-843E-E5AFCD3D7735}" dt="2023-05-04T21:01:57.456" v="3222" actId="478"/>
          <ac:grpSpMkLst>
            <pc:docMk/>
            <pc:sldMk cId="626962370" sldId="2147469925"/>
            <ac:grpSpMk id="43" creationId="{E397C03B-ABC6-9BB4-A5D8-BE91104C8202}"/>
          </ac:grpSpMkLst>
        </pc:grpChg>
        <pc:grpChg chg="del">
          <ac:chgData name="Moris Montejo" userId="55e843e1-b95f-4cc0-a457-c4d5fafa72c5" providerId="ADAL" clId="{C7B19B88-03A4-47F3-843E-E5AFCD3D7735}" dt="2023-05-04T21:02:00.283" v="3224" actId="478"/>
          <ac:grpSpMkLst>
            <pc:docMk/>
            <pc:sldMk cId="626962370" sldId="2147469925"/>
            <ac:grpSpMk id="65" creationId="{92090BBD-6F7E-1AB5-41B0-A33965334921}"/>
          </ac:grpSpMkLst>
        </pc:grpChg>
        <pc:picChg chg="del">
          <ac:chgData name="Moris Montejo" userId="55e843e1-b95f-4cc0-a457-c4d5fafa72c5" providerId="ADAL" clId="{C7B19B88-03A4-47F3-843E-E5AFCD3D7735}" dt="2023-05-04T21:01:59.109" v="3223" actId="478"/>
          <ac:picMkLst>
            <pc:docMk/>
            <pc:sldMk cId="626962370" sldId="2147469925"/>
            <ac:picMk id="68" creationId="{2586867F-73B0-53E1-CB60-DA2602CB3F78}"/>
          </ac:picMkLst>
        </pc:picChg>
      </pc:sldChg>
      <pc:sldChg chg="modSp del mod">
        <pc:chgData name="Moris Montejo" userId="55e843e1-b95f-4cc0-a457-c4d5fafa72c5" providerId="ADAL" clId="{C7B19B88-03A4-47F3-843E-E5AFCD3D7735}" dt="2023-05-04T20:58:35.895" v="3170" actId="2696"/>
        <pc:sldMkLst>
          <pc:docMk/>
          <pc:sldMk cId="2334079038" sldId="2147469925"/>
        </pc:sldMkLst>
        <pc:spChg chg="mod">
          <ac:chgData name="Moris Montejo" userId="55e843e1-b95f-4cc0-a457-c4d5fafa72c5" providerId="ADAL" clId="{C7B19B88-03A4-47F3-843E-E5AFCD3D7735}" dt="2023-05-04T20:42:35" v="2463"/>
          <ac:spMkLst>
            <pc:docMk/>
            <pc:sldMk cId="2334079038" sldId="2147469925"/>
            <ac:spMk id="2" creationId="{00000000-0000-0000-0000-000000000000}"/>
          </ac:spMkLst>
        </pc:spChg>
      </pc:sldChg>
      <pc:sldChg chg="delSp add del mod">
        <pc:chgData name="Moris Montejo" userId="55e843e1-b95f-4cc0-a457-c4d5fafa72c5" providerId="ADAL" clId="{C7B19B88-03A4-47F3-843E-E5AFCD3D7735}" dt="2023-05-04T20:58:58.779" v="3172" actId="2696"/>
        <pc:sldMkLst>
          <pc:docMk/>
          <pc:sldMk cId="811037250" sldId="2147469926"/>
        </pc:sldMkLst>
        <pc:grpChg chg="del">
          <ac:chgData name="Moris Montejo" userId="55e843e1-b95f-4cc0-a457-c4d5fafa72c5" providerId="ADAL" clId="{C7B19B88-03A4-47F3-843E-E5AFCD3D7735}" dt="2023-05-04T20:50:46.084" v="3097" actId="478"/>
          <ac:grpSpMkLst>
            <pc:docMk/>
            <pc:sldMk cId="811037250" sldId="2147469926"/>
            <ac:grpSpMk id="4" creationId="{01EC8050-95F2-2AD2-6542-9E5440D0AA9D}"/>
          </ac:grpSpMkLst>
        </pc:grpChg>
        <pc:grpChg chg="del">
          <ac:chgData name="Moris Montejo" userId="55e843e1-b95f-4cc0-a457-c4d5fafa72c5" providerId="ADAL" clId="{C7B19B88-03A4-47F3-843E-E5AFCD3D7735}" dt="2023-05-04T20:50:39.068" v="3096" actId="478"/>
          <ac:grpSpMkLst>
            <pc:docMk/>
            <pc:sldMk cId="811037250" sldId="2147469926"/>
            <ac:grpSpMk id="37" creationId="{AD1DDED3-9BC7-FADF-EF9A-8C73D300C4AC}"/>
          </ac:grpSpMkLst>
        </pc:grpChg>
        <pc:grpChg chg="del">
          <ac:chgData name="Moris Montejo" userId="55e843e1-b95f-4cc0-a457-c4d5fafa72c5" providerId="ADAL" clId="{C7B19B88-03A4-47F3-843E-E5AFCD3D7735}" dt="2023-05-04T20:50:37.738" v="3095" actId="478"/>
          <ac:grpSpMkLst>
            <pc:docMk/>
            <pc:sldMk cId="811037250" sldId="2147469926"/>
            <ac:grpSpMk id="43" creationId="{E397C03B-ABC6-9BB4-A5D8-BE91104C8202}"/>
          </ac:grpSpMkLst>
        </pc:grpChg>
      </pc:sldChg>
      <pc:sldChg chg="delSp add del mod">
        <pc:chgData name="Moris Montejo" userId="55e843e1-b95f-4cc0-a457-c4d5fafa72c5" providerId="ADAL" clId="{C7B19B88-03A4-47F3-843E-E5AFCD3D7735}" dt="2023-05-04T21:34:19.705" v="3459" actId="47"/>
        <pc:sldMkLst>
          <pc:docMk/>
          <pc:sldMk cId="1625025751" sldId="2147469926"/>
        </pc:sldMkLst>
        <pc:grpChg chg="del">
          <ac:chgData name="Moris Montejo" userId="55e843e1-b95f-4cc0-a457-c4d5fafa72c5" providerId="ADAL" clId="{C7B19B88-03A4-47F3-843E-E5AFCD3D7735}" dt="2023-05-04T21:02:16.468" v="3226" actId="478"/>
          <ac:grpSpMkLst>
            <pc:docMk/>
            <pc:sldMk cId="1625025751" sldId="2147469926"/>
            <ac:grpSpMk id="43" creationId="{E397C03B-ABC6-9BB4-A5D8-BE91104C8202}"/>
          </ac:grpSpMkLst>
        </pc:grpChg>
      </pc:sldChg>
      <pc:sldChg chg="addSp delSp modSp add del mod">
        <pc:chgData name="Moris Montejo" userId="55e843e1-b95f-4cc0-a457-c4d5fafa72c5" providerId="ADAL" clId="{C7B19B88-03A4-47F3-843E-E5AFCD3D7735}" dt="2023-05-04T20:58:53.895" v="3171" actId="2696"/>
        <pc:sldMkLst>
          <pc:docMk/>
          <pc:sldMk cId="3797688073" sldId="2147469927"/>
        </pc:sldMkLst>
        <pc:spChg chg="mod">
          <ac:chgData name="Moris Montejo" userId="55e843e1-b95f-4cc0-a457-c4d5fafa72c5" providerId="ADAL" clId="{C7B19B88-03A4-47F3-843E-E5AFCD3D7735}" dt="2023-05-04T20:51:24.910" v="3103"/>
          <ac:spMkLst>
            <pc:docMk/>
            <pc:sldMk cId="3797688073" sldId="2147469927"/>
            <ac:spMk id="13" creationId="{CBA48560-5808-1BB7-C842-02084BC18028}"/>
          </ac:spMkLst>
        </pc:spChg>
        <pc:spChg chg="mod">
          <ac:chgData name="Moris Montejo" userId="55e843e1-b95f-4cc0-a457-c4d5fafa72c5" providerId="ADAL" clId="{C7B19B88-03A4-47F3-843E-E5AFCD3D7735}" dt="2023-05-04T20:51:24.910" v="3103"/>
          <ac:spMkLst>
            <pc:docMk/>
            <pc:sldMk cId="3797688073" sldId="2147469927"/>
            <ac:spMk id="28" creationId="{7451AEE5-443E-BE6E-F9F0-868044AFBB51}"/>
          </ac:spMkLst>
        </pc:spChg>
        <pc:spChg chg="mod">
          <ac:chgData name="Moris Montejo" userId="55e843e1-b95f-4cc0-a457-c4d5fafa72c5" providerId="ADAL" clId="{C7B19B88-03A4-47F3-843E-E5AFCD3D7735}" dt="2023-05-04T20:51:24.910" v="3103"/>
          <ac:spMkLst>
            <pc:docMk/>
            <pc:sldMk cId="3797688073" sldId="2147469927"/>
            <ac:spMk id="29" creationId="{B2F9D2D5-83F8-45BB-B3C8-69760F4024D7}"/>
          </ac:spMkLst>
        </pc:spChg>
        <pc:spChg chg="mod">
          <ac:chgData name="Moris Montejo" userId="55e843e1-b95f-4cc0-a457-c4d5fafa72c5" providerId="ADAL" clId="{C7B19B88-03A4-47F3-843E-E5AFCD3D7735}" dt="2023-05-04T20:51:41.050" v="3104"/>
          <ac:spMkLst>
            <pc:docMk/>
            <pc:sldMk cId="3797688073" sldId="2147469927"/>
            <ac:spMk id="31" creationId="{CA77A808-1875-AE91-AA66-3A9D13F1A1CE}"/>
          </ac:spMkLst>
        </pc:spChg>
        <pc:spChg chg="mod">
          <ac:chgData name="Moris Montejo" userId="55e843e1-b95f-4cc0-a457-c4d5fafa72c5" providerId="ADAL" clId="{C7B19B88-03A4-47F3-843E-E5AFCD3D7735}" dt="2023-05-04T20:51:41.050" v="3104"/>
          <ac:spMkLst>
            <pc:docMk/>
            <pc:sldMk cId="3797688073" sldId="2147469927"/>
            <ac:spMk id="49" creationId="{149ABD56-3341-A9CE-F904-E226DA428F3F}"/>
          </ac:spMkLst>
        </pc:spChg>
        <pc:spChg chg="mod">
          <ac:chgData name="Moris Montejo" userId="55e843e1-b95f-4cc0-a457-c4d5fafa72c5" providerId="ADAL" clId="{C7B19B88-03A4-47F3-843E-E5AFCD3D7735}" dt="2023-05-04T20:51:41.050" v="3104"/>
          <ac:spMkLst>
            <pc:docMk/>
            <pc:sldMk cId="3797688073" sldId="2147469927"/>
            <ac:spMk id="50" creationId="{C52A5C56-59D9-C5C6-C473-2287B6D046B4}"/>
          </ac:spMkLst>
        </pc:spChg>
        <pc:spChg chg="mod">
          <ac:chgData name="Moris Montejo" userId="55e843e1-b95f-4cc0-a457-c4d5fafa72c5" providerId="ADAL" clId="{C7B19B88-03A4-47F3-843E-E5AFCD3D7735}" dt="2023-05-04T20:51:46.578" v="3105"/>
          <ac:spMkLst>
            <pc:docMk/>
            <pc:sldMk cId="3797688073" sldId="2147469927"/>
            <ac:spMk id="52" creationId="{FA24A302-0BA0-3392-C7DF-243834D99EC1}"/>
          </ac:spMkLst>
        </pc:spChg>
        <pc:spChg chg="mod">
          <ac:chgData name="Moris Montejo" userId="55e843e1-b95f-4cc0-a457-c4d5fafa72c5" providerId="ADAL" clId="{C7B19B88-03A4-47F3-843E-E5AFCD3D7735}" dt="2023-05-04T20:51:46.578" v="3105"/>
          <ac:spMkLst>
            <pc:docMk/>
            <pc:sldMk cId="3797688073" sldId="2147469927"/>
            <ac:spMk id="54" creationId="{631FF739-C3E6-22B8-24B3-CC3544A1E428}"/>
          </ac:spMkLst>
        </pc:spChg>
        <pc:spChg chg="mod">
          <ac:chgData name="Moris Montejo" userId="55e843e1-b95f-4cc0-a457-c4d5fafa72c5" providerId="ADAL" clId="{C7B19B88-03A4-47F3-843E-E5AFCD3D7735}" dt="2023-05-04T20:51:46.578" v="3105"/>
          <ac:spMkLst>
            <pc:docMk/>
            <pc:sldMk cId="3797688073" sldId="2147469927"/>
            <ac:spMk id="55" creationId="{A602FBB4-0A88-4AE2-20F8-CD104C038AEA}"/>
          </ac:spMkLst>
        </pc:spChg>
        <pc:spChg chg="mod">
          <ac:chgData name="Moris Montejo" userId="55e843e1-b95f-4cc0-a457-c4d5fafa72c5" providerId="ADAL" clId="{C7B19B88-03A4-47F3-843E-E5AFCD3D7735}" dt="2023-05-04T20:51:54.020" v="3106"/>
          <ac:spMkLst>
            <pc:docMk/>
            <pc:sldMk cId="3797688073" sldId="2147469927"/>
            <ac:spMk id="57" creationId="{4701A0DC-2C2C-422B-C032-DB081CAC6259}"/>
          </ac:spMkLst>
        </pc:spChg>
        <pc:spChg chg="mod">
          <ac:chgData name="Moris Montejo" userId="55e843e1-b95f-4cc0-a457-c4d5fafa72c5" providerId="ADAL" clId="{C7B19B88-03A4-47F3-843E-E5AFCD3D7735}" dt="2023-05-04T20:51:54.020" v="3106"/>
          <ac:spMkLst>
            <pc:docMk/>
            <pc:sldMk cId="3797688073" sldId="2147469927"/>
            <ac:spMk id="59" creationId="{AD8C19C1-84E4-64AF-84C6-EFE454AFF3D5}"/>
          </ac:spMkLst>
        </pc:spChg>
        <pc:spChg chg="mod">
          <ac:chgData name="Moris Montejo" userId="55e843e1-b95f-4cc0-a457-c4d5fafa72c5" providerId="ADAL" clId="{C7B19B88-03A4-47F3-843E-E5AFCD3D7735}" dt="2023-05-04T20:51:54.020" v="3106"/>
          <ac:spMkLst>
            <pc:docMk/>
            <pc:sldMk cId="3797688073" sldId="2147469927"/>
            <ac:spMk id="60" creationId="{B17F2B8E-AAB6-4988-C26E-FE1167A7A649}"/>
          </ac:spMkLst>
        </pc:spChg>
        <pc:grpChg chg="add mod">
          <ac:chgData name="Moris Montejo" userId="55e843e1-b95f-4cc0-a457-c4d5fafa72c5" providerId="ADAL" clId="{C7B19B88-03A4-47F3-843E-E5AFCD3D7735}" dt="2023-05-04T20:51:24.910" v="3103"/>
          <ac:grpSpMkLst>
            <pc:docMk/>
            <pc:sldMk cId="3797688073" sldId="2147469927"/>
            <ac:grpSpMk id="4" creationId="{17ADB069-3E91-6512-31C1-2E576147E945}"/>
          </ac:grpSpMkLst>
        </pc:grpChg>
        <pc:grpChg chg="del">
          <ac:chgData name="Moris Montejo" userId="55e843e1-b95f-4cc0-a457-c4d5fafa72c5" providerId="ADAL" clId="{C7B19B88-03A4-47F3-843E-E5AFCD3D7735}" dt="2023-05-04T20:51:08.899" v="3102" actId="478"/>
          <ac:grpSpMkLst>
            <pc:docMk/>
            <pc:sldMk cId="3797688073" sldId="2147469927"/>
            <ac:grpSpMk id="15" creationId="{A32F9CFA-C507-48FE-A52A-AC6FB577A654}"/>
          </ac:grpSpMkLst>
        </pc:grpChg>
        <pc:grpChg chg="del">
          <ac:chgData name="Moris Montejo" userId="55e843e1-b95f-4cc0-a457-c4d5fafa72c5" providerId="ADAL" clId="{C7B19B88-03A4-47F3-843E-E5AFCD3D7735}" dt="2023-05-04T20:51:07.425" v="3101" actId="478"/>
          <ac:grpSpMkLst>
            <pc:docMk/>
            <pc:sldMk cId="3797688073" sldId="2147469927"/>
            <ac:grpSpMk id="22" creationId="{DD4133AA-5845-418C-86A9-F49FF5034EAE}"/>
          </ac:grpSpMkLst>
        </pc:grpChg>
        <pc:grpChg chg="mod">
          <ac:chgData name="Moris Montejo" userId="55e843e1-b95f-4cc0-a457-c4d5fafa72c5" providerId="ADAL" clId="{C7B19B88-03A4-47F3-843E-E5AFCD3D7735}" dt="2023-05-04T20:51:24.910" v="3103"/>
          <ac:grpSpMkLst>
            <pc:docMk/>
            <pc:sldMk cId="3797688073" sldId="2147469927"/>
            <ac:grpSpMk id="27" creationId="{F23EAFF8-4AE1-A6C7-E2EF-5EB619847ED7}"/>
          </ac:grpSpMkLst>
        </pc:grpChg>
        <pc:grpChg chg="add mod">
          <ac:chgData name="Moris Montejo" userId="55e843e1-b95f-4cc0-a457-c4d5fafa72c5" providerId="ADAL" clId="{C7B19B88-03A4-47F3-843E-E5AFCD3D7735}" dt="2023-05-04T20:51:41.050" v="3104"/>
          <ac:grpSpMkLst>
            <pc:docMk/>
            <pc:sldMk cId="3797688073" sldId="2147469927"/>
            <ac:grpSpMk id="30" creationId="{A5CC41F6-5607-2BE3-2CF5-CC78911C52E6}"/>
          </ac:grpSpMkLst>
        </pc:grpChg>
        <pc:grpChg chg="del">
          <ac:chgData name="Moris Montejo" userId="55e843e1-b95f-4cc0-a457-c4d5fafa72c5" providerId="ADAL" clId="{C7B19B88-03A4-47F3-843E-E5AFCD3D7735}" dt="2023-05-04T20:51:06.001" v="3100" actId="478"/>
          <ac:grpSpMkLst>
            <pc:docMk/>
            <pc:sldMk cId="3797688073" sldId="2147469927"/>
            <ac:grpSpMk id="38" creationId="{ED32F2DC-33C6-4C05-BE9D-EE0DB74CE2B9}"/>
          </ac:grpSpMkLst>
        </pc:grpChg>
        <pc:grpChg chg="del">
          <ac:chgData name="Moris Montejo" userId="55e843e1-b95f-4cc0-a457-c4d5fafa72c5" providerId="ADAL" clId="{C7B19B88-03A4-47F3-843E-E5AFCD3D7735}" dt="2023-05-04T20:51:04.109" v="3099" actId="478"/>
          <ac:grpSpMkLst>
            <pc:docMk/>
            <pc:sldMk cId="3797688073" sldId="2147469927"/>
            <ac:grpSpMk id="43" creationId="{D9BA9BCA-B181-4C7E-8481-2AE0F9ACF8D0}"/>
          </ac:grpSpMkLst>
        </pc:grpChg>
        <pc:grpChg chg="mod">
          <ac:chgData name="Moris Montejo" userId="55e843e1-b95f-4cc0-a457-c4d5fafa72c5" providerId="ADAL" clId="{C7B19B88-03A4-47F3-843E-E5AFCD3D7735}" dt="2023-05-04T20:51:41.050" v="3104"/>
          <ac:grpSpMkLst>
            <pc:docMk/>
            <pc:sldMk cId="3797688073" sldId="2147469927"/>
            <ac:grpSpMk id="48" creationId="{FF270D66-105E-892D-F4B7-8D3F8DCB0ABA}"/>
          </ac:grpSpMkLst>
        </pc:grpChg>
        <pc:grpChg chg="add mod">
          <ac:chgData name="Moris Montejo" userId="55e843e1-b95f-4cc0-a457-c4d5fafa72c5" providerId="ADAL" clId="{C7B19B88-03A4-47F3-843E-E5AFCD3D7735}" dt="2023-05-04T20:51:46.578" v="3105"/>
          <ac:grpSpMkLst>
            <pc:docMk/>
            <pc:sldMk cId="3797688073" sldId="2147469927"/>
            <ac:grpSpMk id="51" creationId="{81F9D41D-8A2C-8158-6C87-FA46F4A36DEB}"/>
          </ac:grpSpMkLst>
        </pc:grpChg>
        <pc:grpChg chg="mod">
          <ac:chgData name="Moris Montejo" userId="55e843e1-b95f-4cc0-a457-c4d5fafa72c5" providerId="ADAL" clId="{C7B19B88-03A4-47F3-843E-E5AFCD3D7735}" dt="2023-05-04T20:51:46.578" v="3105"/>
          <ac:grpSpMkLst>
            <pc:docMk/>
            <pc:sldMk cId="3797688073" sldId="2147469927"/>
            <ac:grpSpMk id="53" creationId="{644A4F45-E2D3-7B4C-E62D-31B6448A8C05}"/>
          </ac:grpSpMkLst>
        </pc:grpChg>
        <pc:grpChg chg="add mod">
          <ac:chgData name="Moris Montejo" userId="55e843e1-b95f-4cc0-a457-c4d5fafa72c5" providerId="ADAL" clId="{C7B19B88-03A4-47F3-843E-E5AFCD3D7735}" dt="2023-05-04T20:51:54.020" v="3106"/>
          <ac:grpSpMkLst>
            <pc:docMk/>
            <pc:sldMk cId="3797688073" sldId="2147469927"/>
            <ac:grpSpMk id="56" creationId="{8246D708-8935-E1CE-9A79-87406A5F7205}"/>
          </ac:grpSpMkLst>
        </pc:grpChg>
        <pc:grpChg chg="mod">
          <ac:chgData name="Moris Montejo" userId="55e843e1-b95f-4cc0-a457-c4d5fafa72c5" providerId="ADAL" clId="{C7B19B88-03A4-47F3-843E-E5AFCD3D7735}" dt="2023-05-04T20:51:54.020" v="3106"/>
          <ac:grpSpMkLst>
            <pc:docMk/>
            <pc:sldMk cId="3797688073" sldId="2147469927"/>
            <ac:grpSpMk id="58" creationId="{6A4FB9B4-D85A-2491-5457-4C2962F9A882}"/>
          </ac:grpSpMkLst>
        </pc:grpChg>
      </pc:sldChg>
      <pc:sldChg chg="add del">
        <pc:chgData name="Moris Montejo" userId="55e843e1-b95f-4cc0-a457-c4d5fafa72c5" providerId="ADAL" clId="{C7B19B88-03A4-47F3-843E-E5AFCD3D7735}" dt="2023-05-04T20:58:53.895" v="3171" actId="2696"/>
        <pc:sldMkLst>
          <pc:docMk/>
          <pc:sldMk cId="839385147" sldId="2147469928"/>
        </pc:sldMkLst>
      </pc:sldChg>
      <pc:sldChg chg="add del">
        <pc:chgData name="Moris Montejo" userId="55e843e1-b95f-4cc0-a457-c4d5fafa72c5" providerId="ADAL" clId="{C7B19B88-03A4-47F3-843E-E5AFCD3D7735}" dt="2023-05-04T20:58:53.895" v="3171" actId="2696"/>
        <pc:sldMkLst>
          <pc:docMk/>
          <pc:sldMk cId="2092001080" sldId="2147469929"/>
        </pc:sldMkLst>
      </pc:sldChg>
      <pc:sldChg chg="delSp del mod">
        <pc:chgData name="Moris Montejo" userId="55e843e1-b95f-4cc0-a457-c4d5fafa72c5" providerId="ADAL" clId="{C7B19B88-03A4-47F3-843E-E5AFCD3D7735}" dt="2023-05-04T20:58:53.895" v="3171" actId="2696"/>
        <pc:sldMkLst>
          <pc:docMk/>
          <pc:sldMk cId="3573435967" sldId="2147469930"/>
        </pc:sldMkLst>
        <pc:grpChg chg="del">
          <ac:chgData name="Moris Montejo" userId="55e843e1-b95f-4cc0-a457-c4d5fafa72c5" providerId="ADAL" clId="{C7B19B88-03A4-47F3-843E-E5AFCD3D7735}" dt="2023-05-04T20:56:47.272" v="3157" actId="478"/>
          <ac:grpSpMkLst>
            <pc:docMk/>
            <pc:sldMk cId="3573435967" sldId="2147469930"/>
            <ac:grpSpMk id="4" creationId="{01EC8050-95F2-2AD2-6542-9E5440D0AA9D}"/>
          </ac:grpSpMkLst>
        </pc:grpChg>
        <pc:grpChg chg="del">
          <ac:chgData name="Moris Montejo" userId="55e843e1-b95f-4cc0-a457-c4d5fafa72c5" providerId="ADAL" clId="{C7B19B88-03A4-47F3-843E-E5AFCD3D7735}" dt="2023-05-04T20:56:49.868" v="3158" actId="478"/>
          <ac:grpSpMkLst>
            <pc:docMk/>
            <pc:sldMk cId="3573435967" sldId="2147469930"/>
            <ac:grpSpMk id="37" creationId="{AD1DDED3-9BC7-FADF-EF9A-8C73D300C4AC}"/>
          </ac:grpSpMkLst>
        </pc:grpChg>
        <pc:grpChg chg="del">
          <ac:chgData name="Moris Montejo" userId="55e843e1-b95f-4cc0-a457-c4d5fafa72c5" providerId="ADAL" clId="{C7B19B88-03A4-47F3-843E-E5AFCD3D7735}" dt="2023-05-04T20:56:52.128" v="3159" actId="478"/>
          <ac:grpSpMkLst>
            <pc:docMk/>
            <pc:sldMk cId="3573435967" sldId="2147469930"/>
            <ac:grpSpMk id="43" creationId="{E397C03B-ABC6-9BB4-A5D8-BE91104C8202}"/>
          </ac:grpSpMkLst>
        </pc:grpChg>
      </pc:sldChg>
    </pc:docChg>
  </pc:docChgLst>
  <pc:docChgLst>
    <pc:chgData name="Murat Odabasi" userId="S::muratod@microsoft.com::d77b5acb-2443-4df7-b8cb-ac216c1fac5a" providerId="AD" clId="Web-{C647A2FD-1113-21CE-E709-EB57DC5DC146}"/>
    <pc:docChg chg="modSld">
      <pc:chgData name="Murat Odabasi" userId="S::muratod@microsoft.com::d77b5acb-2443-4df7-b8cb-ac216c1fac5a" providerId="AD" clId="Web-{C647A2FD-1113-21CE-E709-EB57DC5DC146}" dt="2021-08-27T16:05:33.373" v="3" actId="20577"/>
      <pc:docMkLst>
        <pc:docMk/>
      </pc:docMkLst>
      <pc:sldChg chg="modSp">
        <pc:chgData name="Murat Odabasi" userId="S::muratod@microsoft.com::d77b5acb-2443-4df7-b8cb-ac216c1fac5a" providerId="AD" clId="Web-{C647A2FD-1113-21CE-E709-EB57DC5DC146}" dt="2021-08-27T16:05:33.373" v="3" actId="20577"/>
        <pc:sldMkLst>
          <pc:docMk/>
          <pc:sldMk cId="4145703054" sldId="265"/>
        </pc:sldMkLst>
        <pc:spChg chg="mod">
          <ac:chgData name="Murat Odabasi" userId="S::muratod@microsoft.com::d77b5acb-2443-4df7-b8cb-ac216c1fac5a" providerId="AD" clId="Web-{C647A2FD-1113-21CE-E709-EB57DC5DC146}" dt="2021-08-27T16:05:33.373" v="3" actId="20577"/>
          <ac:spMkLst>
            <pc:docMk/>
            <pc:sldMk cId="4145703054" sldId="265"/>
            <ac:spMk id="15" creationId="{6DAA8F88-5BE5-4DEB-B8E1-CCA52313CEB8}"/>
          </ac:spMkLst>
        </pc:spChg>
      </pc:sldChg>
    </pc:docChg>
  </pc:docChgLst>
  <pc:docChgLst>
    <pc:chgData name="Vanitha Prabhakaran" userId="S::vanithp@microsoft.com::e95eb377-dfdd-4aab-8cbe-ebaf486b18a5" providerId="AD" clId="Web-{4940B4D7-2266-7980-BA0B-0176BCEFEDA5}"/>
    <pc:docChg chg="modSld">
      <pc:chgData name="Vanitha Prabhakaran" userId="S::vanithp@microsoft.com::e95eb377-dfdd-4aab-8cbe-ebaf486b18a5" providerId="AD" clId="Web-{4940B4D7-2266-7980-BA0B-0176BCEFEDA5}" dt="2021-09-02T19:36:10.328" v="2"/>
      <pc:docMkLst>
        <pc:docMk/>
      </pc:docMkLst>
      <pc:sldChg chg="addSp">
        <pc:chgData name="Vanitha Prabhakaran" userId="S::vanithp@microsoft.com::e95eb377-dfdd-4aab-8cbe-ebaf486b18a5" providerId="AD" clId="Web-{4940B4D7-2266-7980-BA0B-0176BCEFEDA5}" dt="2021-09-02T19:36:10.328" v="2"/>
        <pc:sldMkLst>
          <pc:docMk/>
          <pc:sldMk cId="2242852715" sldId="257"/>
        </pc:sldMkLst>
        <pc:spChg chg="add">
          <ac:chgData name="Vanitha Prabhakaran" userId="S::vanithp@microsoft.com::e95eb377-dfdd-4aab-8cbe-ebaf486b18a5" providerId="AD" clId="Web-{4940B4D7-2266-7980-BA0B-0176BCEFEDA5}" dt="2021-09-02T19:36:05.969" v="0"/>
          <ac:spMkLst>
            <pc:docMk/>
            <pc:sldMk cId="2242852715" sldId="257"/>
            <ac:spMk id="3" creationId="{743C3B0A-A836-439B-950C-1AAD5DB5CA53}"/>
          </ac:spMkLst>
        </pc:spChg>
        <pc:spChg chg="add">
          <ac:chgData name="Vanitha Prabhakaran" userId="S::vanithp@microsoft.com::e95eb377-dfdd-4aab-8cbe-ebaf486b18a5" providerId="AD" clId="Web-{4940B4D7-2266-7980-BA0B-0176BCEFEDA5}" dt="2021-09-02T19:36:07.813" v="1"/>
          <ac:spMkLst>
            <pc:docMk/>
            <pc:sldMk cId="2242852715" sldId="257"/>
            <ac:spMk id="4" creationId="{49858A07-02B4-4F10-A82B-C6EA5A0D5BB2}"/>
          </ac:spMkLst>
        </pc:spChg>
        <pc:spChg chg="add">
          <ac:chgData name="Vanitha Prabhakaran" userId="S::vanithp@microsoft.com::e95eb377-dfdd-4aab-8cbe-ebaf486b18a5" providerId="AD" clId="Web-{4940B4D7-2266-7980-BA0B-0176BCEFEDA5}" dt="2021-09-02T19:36:10.328" v="2"/>
          <ac:spMkLst>
            <pc:docMk/>
            <pc:sldMk cId="2242852715" sldId="257"/>
            <ac:spMk id="5" creationId="{93DA8CF5-EB5F-43D7-B113-37F99FA8D657}"/>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Ellen Brady" userId="2292e5f9502477d7" providerId="Windows Live" clId="Web-{75204FFB-4A87-4AF3-BEDD-07219C4F7370}"/>
    <pc:docChg chg="modSld">
      <pc:chgData name="Ellen Brady" userId="2292e5f9502477d7" providerId="Windows Live" clId="Web-{75204FFB-4A87-4AF3-BEDD-07219C4F7370}" dt="2021-12-07T20:30:14.667" v="86" actId="20577"/>
      <pc:docMkLst>
        <pc:docMk/>
      </pc:docMkLst>
      <pc:sldChg chg="modSp">
        <pc:chgData name="Ellen Brady" userId="2292e5f9502477d7" providerId="Windows Live" clId="Web-{75204FFB-4A87-4AF3-BEDD-07219C4F7370}" dt="2021-12-07T18:44:13.621" v="0" actId="20577"/>
        <pc:sldMkLst>
          <pc:docMk/>
          <pc:sldMk cId="914707366" sldId="261"/>
        </pc:sldMkLst>
        <pc:spChg chg="mod">
          <ac:chgData name="Ellen Brady" userId="2292e5f9502477d7" providerId="Windows Live" clId="Web-{75204FFB-4A87-4AF3-BEDD-07219C4F7370}" dt="2021-12-07T18:44:13.621" v="0" actId="20577"/>
          <ac:spMkLst>
            <pc:docMk/>
            <pc:sldMk cId="914707366" sldId="261"/>
            <ac:spMk id="6" creationId="{47ABE339-BE58-4DEE-AA3B-1D0591059B67}"/>
          </ac:spMkLst>
        </pc:spChg>
      </pc:sldChg>
      <pc:sldChg chg="modSp">
        <pc:chgData name="Ellen Brady" userId="2292e5f9502477d7" providerId="Windows Live" clId="Web-{75204FFB-4A87-4AF3-BEDD-07219C4F7370}" dt="2021-12-07T18:45:17.590" v="2" actId="20577"/>
        <pc:sldMkLst>
          <pc:docMk/>
          <pc:sldMk cId="219907589" sldId="271"/>
        </pc:sldMkLst>
        <pc:spChg chg="mod">
          <ac:chgData name="Ellen Brady" userId="2292e5f9502477d7" providerId="Windows Live" clId="Web-{75204FFB-4A87-4AF3-BEDD-07219C4F7370}" dt="2021-12-07T18:45:17.590" v="2" actId="20577"/>
          <ac:spMkLst>
            <pc:docMk/>
            <pc:sldMk cId="219907589" sldId="271"/>
            <ac:spMk id="2" creationId="{E0DCCC6D-05C4-4092-8C9D-AA0D46C1A281}"/>
          </ac:spMkLst>
        </pc:spChg>
      </pc:sldChg>
      <pc:sldChg chg="modSp">
        <pc:chgData name="Ellen Brady" userId="2292e5f9502477d7" providerId="Windows Live" clId="Web-{75204FFB-4A87-4AF3-BEDD-07219C4F7370}" dt="2021-12-07T18:45:49.231" v="4" actId="20577"/>
        <pc:sldMkLst>
          <pc:docMk/>
          <pc:sldMk cId="3682129350" sldId="272"/>
        </pc:sldMkLst>
        <pc:spChg chg="mod">
          <ac:chgData name="Ellen Brady" userId="2292e5f9502477d7" providerId="Windows Live" clId="Web-{75204FFB-4A87-4AF3-BEDD-07219C4F7370}" dt="2021-12-07T18:45:49.231" v="4" actId="20577"/>
          <ac:spMkLst>
            <pc:docMk/>
            <pc:sldMk cId="3682129350" sldId="272"/>
            <ac:spMk id="2" creationId="{E0DCCC6D-05C4-4092-8C9D-AA0D46C1A281}"/>
          </ac:spMkLst>
        </pc:spChg>
      </pc:sldChg>
      <pc:sldChg chg="modSp">
        <pc:chgData name="Ellen Brady" userId="2292e5f9502477d7" providerId="Windows Live" clId="Web-{75204FFB-4A87-4AF3-BEDD-07219C4F7370}" dt="2021-12-07T19:09:04.586" v="9" actId="20577"/>
        <pc:sldMkLst>
          <pc:docMk/>
          <pc:sldMk cId="322230675" sldId="275"/>
        </pc:sldMkLst>
        <pc:spChg chg="mod">
          <ac:chgData name="Ellen Brady" userId="2292e5f9502477d7" providerId="Windows Live" clId="Web-{75204FFB-4A87-4AF3-BEDD-07219C4F7370}" dt="2021-12-07T19:09:04.586" v="9" actId="20577"/>
          <ac:spMkLst>
            <pc:docMk/>
            <pc:sldMk cId="322230675" sldId="275"/>
            <ac:spMk id="2" creationId="{E0DCCC6D-05C4-4092-8C9D-AA0D46C1A281}"/>
          </ac:spMkLst>
        </pc:spChg>
      </pc:sldChg>
      <pc:sldChg chg="modSp">
        <pc:chgData name="Ellen Brady" userId="2292e5f9502477d7" providerId="Windows Live" clId="Web-{75204FFB-4A87-4AF3-BEDD-07219C4F7370}" dt="2021-12-07T19:32:28.959" v="15" actId="20577"/>
        <pc:sldMkLst>
          <pc:docMk/>
          <pc:sldMk cId="86217649" sldId="278"/>
        </pc:sldMkLst>
        <pc:spChg chg="mod">
          <ac:chgData name="Ellen Brady" userId="2292e5f9502477d7" providerId="Windows Live" clId="Web-{75204FFB-4A87-4AF3-BEDD-07219C4F7370}" dt="2021-12-07T19:32:28.959" v="15" actId="20577"/>
          <ac:spMkLst>
            <pc:docMk/>
            <pc:sldMk cId="86217649" sldId="278"/>
            <ac:spMk id="2" creationId="{E0DCCC6D-05C4-4092-8C9D-AA0D46C1A281}"/>
          </ac:spMkLst>
        </pc:spChg>
      </pc:sldChg>
      <pc:sldChg chg="modSp">
        <pc:chgData name="Ellen Brady" userId="2292e5f9502477d7" providerId="Windows Live" clId="Web-{75204FFB-4A87-4AF3-BEDD-07219C4F7370}" dt="2021-12-07T19:34:08.380" v="19" actId="20577"/>
        <pc:sldMkLst>
          <pc:docMk/>
          <pc:sldMk cId="1728916693" sldId="2076137329"/>
        </pc:sldMkLst>
        <pc:spChg chg="mod">
          <ac:chgData name="Ellen Brady" userId="2292e5f9502477d7" providerId="Windows Live" clId="Web-{75204FFB-4A87-4AF3-BEDD-07219C4F7370}" dt="2021-12-07T19:34:08.380" v="19" actId="20577"/>
          <ac:spMkLst>
            <pc:docMk/>
            <pc:sldMk cId="1728916693" sldId="2076137329"/>
            <ac:spMk id="2" creationId="{E0DCCC6D-05C4-4092-8C9D-AA0D46C1A281}"/>
          </ac:spMkLst>
        </pc:spChg>
      </pc:sldChg>
      <pc:sldChg chg="modSp">
        <pc:chgData name="Ellen Brady" userId="2292e5f9502477d7" providerId="Windows Live" clId="Web-{75204FFB-4A87-4AF3-BEDD-07219C4F7370}" dt="2021-12-07T19:34:21.802" v="22" actId="20577"/>
        <pc:sldMkLst>
          <pc:docMk/>
          <pc:sldMk cId="3589993246" sldId="2076137330"/>
        </pc:sldMkLst>
        <pc:spChg chg="mod">
          <ac:chgData name="Ellen Brady" userId="2292e5f9502477d7" providerId="Windows Live" clId="Web-{75204FFB-4A87-4AF3-BEDD-07219C4F7370}" dt="2021-12-07T19:34:21.802" v="22" actId="20577"/>
          <ac:spMkLst>
            <pc:docMk/>
            <pc:sldMk cId="3589993246" sldId="2076137330"/>
            <ac:spMk id="17" creationId="{D78B6835-1BA1-4847-B3D6-356B11A921E4}"/>
          </ac:spMkLst>
        </pc:spChg>
        <pc:spChg chg="mod">
          <ac:chgData name="Ellen Brady" userId="2292e5f9502477d7" providerId="Windows Live" clId="Web-{75204FFB-4A87-4AF3-BEDD-07219C4F7370}" dt="2021-12-07T19:34:16.146" v="21" actId="20577"/>
          <ac:spMkLst>
            <pc:docMk/>
            <pc:sldMk cId="3589993246" sldId="2076137330"/>
            <ac:spMk id="19" creationId="{9A723893-0B78-4002-8D40-8386747D05F0}"/>
          </ac:spMkLst>
        </pc:spChg>
      </pc:sldChg>
      <pc:sldChg chg="modSp">
        <pc:chgData name="Ellen Brady" userId="2292e5f9502477d7" providerId="Windows Live" clId="Web-{75204FFB-4A87-4AF3-BEDD-07219C4F7370}" dt="2021-12-07T20:12:01.295" v="29" actId="20577"/>
        <pc:sldMkLst>
          <pc:docMk/>
          <pc:sldMk cId="1823759405" sldId="2076137332"/>
        </pc:sldMkLst>
        <pc:spChg chg="mod">
          <ac:chgData name="Ellen Brady" userId="2292e5f9502477d7" providerId="Windows Live" clId="Web-{75204FFB-4A87-4AF3-BEDD-07219C4F7370}" dt="2021-12-07T20:12:01.295" v="29" actId="20577"/>
          <ac:spMkLst>
            <pc:docMk/>
            <pc:sldMk cId="1823759405" sldId="2076137332"/>
            <ac:spMk id="9" creationId="{6C1E1E07-1B82-4103-9DE9-6A87FA94B4CF}"/>
          </ac:spMkLst>
        </pc:spChg>
      </pc:sldChg>
      <pc:sldChg chg="modSp">
        <pc:chgData name="Ellen Brady" userId="2292e5f9502477d7" providerId="Windows Live" clId="Web-{75204FFB-4A87-4AF3-BEDD-07219C4F7370}" dt="2021-12-07T20:18:08.372" v="40" actId="20577"/>
        <pc:sldMkLst>
          <pc:docMk/>
          <pc:sldMk cId="309868590" sldId="2076137333"/>
        </pc:sldMkLst>
        <pc:spChg chg="mod">
          <ac:chgData name="Ellen Brady" userId="2292e5f9502477d7" providerId="Windows Live" clId="Web-{75204FFB-4A87-4AF3-BEDD-07219C4F7370}" dt="2021-12-07T20:18:08.372" v="40" actId="20577"/>
          <ac:spMkLst>
            <pc:docMk/>
            <pc:sldMk cId="309868590" sldId="2076137333"/>
            <ac:spMk id="9" creationId="{6C1E1E07-1B82-4103-9DE9-6A87FA94B4CF}"/>
          </ac:spMkLst>
        </pc:spChg>
      </pc:sldChg>
      <pc:sldChg chg="modSp">
        <pc:chgData name="Ellen Brady" userId="2292e5f9502477d7" providerId="Windows Live" clId="Web-{75204FFB-4A87-4AF3-BEDD-07219C4F7370}" dt="2021-12-07T20:17:04.341" v="37" actId="20577"/>
        <pc:sldMkLst>
          <pc:docMk/>
          <pc:sldMk cId="1516946336" sldId="2076137337"/>
        </pc:sldMkLst>
        <pc:spChg chg="mod">
          <ac:chgData name="Ellen Brady" userId="2292e5f9502477d7" providerId="Windows Live" clId="Web-{75204FFB-4A87-4AF3-BEDD-07219C4F7370}" dt="2021-12-07T20:17:04.341" v="37" actId="20577"/>
          <ac:spMkLst>
            <pc:docMk/>
            <pc:sldMk cId="1516946336" sldId="2076137337"/>
            <ac:spMk id="9" creationId="{6C1E1E07-1B82-4103-9DE9-6A87FA94B4CF}"/>
          </ac:spMkLst>
        </pc:spChg>
      </pc:sldChg>
      <pc:sldChg chg="modSp">
        <pc:chgData name="Ellen Brady" userId="2292e5f9502477d7" providerId="Windows Live" clId="Web-{75204FFB-4A87-4AF3-BEDD-07219C4F7370}" dt="2021-12-07T20:19:00.419" v="60"/>
        <pc:sldMkLst>
          <pc:docMk/>
          <pc:sldMk cId="283771889" sldId="2076137340"/>
        </pc:sldMkLst>
        <pc:graphicFrameChg chg="mod modGraphic">
          <ac:chgData name="Ellen Brady" userId="2292e5f9502477d7" providerId="Windows Live" clId="Web-{75204FFB-4A87-4AF3-BEDD-07219C4F7370}" dt="2021-12-07T20:19:00.419" v="60"/>
          <ac:graphicFrameMkLst>
            <pc:docMk/>
            <pc:sldMk cId="283771889" sldId="2076137340"/>
            <ac:graphicFrameMk id="6" creationId="{7C7A8CD8-6753-441E-984D-FDB632F2423D}"/>
          </ac:graphicFrameMkLst>
        </pc:graphicFrameChg>
      </pc:sldChg>
      <pc:sldChg chg="modSp">
        <pc:chgData name="Ellen Brady" userId="2292e5f9502477d7" providerId="Windows Live" clId="Web-{75204FFB-4A87-4AF3-BEDD-07219C4F7370}" dt="2021-12-07T20:21:57.090" v="61" actId="20577"/>
        <pc:sldMkLst>
          <pc:docMk/>
          <pc:sldMk cId="1505777196" sldId="2076137342"/>
        </pc:sldMkLst>
        <pc:spChg chg="mod">
          <ac:chgData name="Ellen Brady" userId="2292e5f9502477d7" providerId="Windows Live" clId="Web-{75204FFB-4A87-4AF3-BEDD-07219C4F7370}" dt="2021-12-07T20:21:57.090" v="61" actId="20577"/>
          <ac:spMkLst>
            <pc:docMk/>
            <pc:sldMk cId="1505777196" sldId="2076137342"/>
            <ac:spMk id="9" creationId="{6C1E1E07-1B82-4103-9DE9-6A87FA94B4CF}"/>
          </ac:spMkLst>
        </pc:spChg>
      </pc:sldChg>
      <pc:sldChg chg="modSp">
        <pc:chgData name="Ellen Brady" userId="2292e5f9502477d7" providerId="Windows Live" clId="Web-{75204FFB-4A87-4AF3-BEDD-07219C4F7370}" dt="2021-12-07T20:25:19.902" v="74" actId="20577"/>
        <pc:sldMkLst>
          <pc:docMk/>
          <pc:sldMk cId="2559306339" sldId="2076137343"/>
        </pc:sldMkLst>
        <pc:spChg chg="mod">
          <ac:chgData name="Ellen Brady" userId="2292e5f9502477d7" providerId="Windows Live" clId="Web-{75204FFB-4A87-4AF3-BEDD-07219C4F7370}" dt="2021-12-07T20:25:19.902" v="74" actId="20577"/>
          <ac:spMkLst>
            <pc:docMk/>
            <pc:sldMk cId="2559306339" sldId="2076137343"/>
            <ac:spMk id="9" creationId="{6C1E1E07-1B82-4103-9DE9-6A87FA94B4CF}"/>
          </ac:spMkLst>
        </pc:spChg>
      </pc:sldChg>
      <pc:sldChg chg="modSp">
        <pc:chgData name="Ellen Brady" userId="2292e5f9502477d7" providerId="Windows Live" clId="Web-{75204FFB-4A87-4AF3-BEDD-07219C4F7370}" dt="2021-12-07T20:22:28.653" v="64" actId="20577"/>
        <pc:sldMkLst>
          <pc:docMk/>
          <pc:sldMk cId="1089792961" sldId="2076137345"/>
        </pc:sldMkLst>
        <pc:spChg chg="mod">
          <ac:chgData name="Ellen Brady" userId="2292e5f9502477d7" providerId="Windows Live" clId="Web-{75204FFB-4A87-4AF3-BEDD-07219C4F7370}" dt="2021-12-07T20:22:28.653" v="64" actId="20577"/>
          <ac:spMkLst>
            <pc:docMk/>
            <pc:sldMk cId="1089792961" sldId="2076137345"/>
            <ac:spMk id="9" creationId="{6C1E1E07-1B82-4103-9DE9-6A87FA94B4CF}"/>
          </ac:spMkLst>
        </pc:spChg>
      </pc:sldChg>
      <pc:sldChg chg="modSp">
        <pc:chgData name="Ellen Brady" userId="2292e5f9502477d7" providerId="Windows Live" clId="Web-{75204FFB-4A87-4AF3-BEDD-07219C4F7370}" dt="2021-12-07T20:30:14.667" v="86" actId="20577"/>
        <pc:sldMkLst>
          <pc:docMk/>
          <pc:sldMk cId="2597754682" sldId="2076137347"/>
        </pc:sldMkLst>
        <pc:spChg chg="mod">
          <ac:chgData name="Ellen Brady" userId="2292e5f9502477d7" providerId="Windows Live" clId="Web-{75204FFB-4A87-4AF3-BEDD-07219C4F7370}" dt="2021-12-07T20:30:14.667" v="86" actId="20577"/>
          <ac:spMkLst>
            <pc:docMk/>
            <pc:sldMk cId="2597754682" sldId="2076137347"/>
            <ac:spMk id="9" creationId="{6C1E1E07-1B82-4103-9DE9-6A87FA94B4CF}"/>
          </ac:spMkLst>
        </pc:spChg>
      </pc:sldChg>
      <pc:sldChg chg="modSp">
        <pc:chgData name="Ellen Brady" userId="2292e5f9502477d7" providerId="Windows Live" clId="Web-{75204FFB-4A87-4AF3-BEDD-07219C4F7370}" dt="2021-12-07T20:29:31.042" v="79" actId="20577"/>
        <pc:sldMkLst>
          <pc:docMk/>
          <pc:sldMk cId="663600939" sldId="2076137348"/>
        </pc:sldMkLst>
        <pc:spChg chg="mod">
          <ac:chgData name="Ellen Brady" userId="2292e5f9502477d7" providerId="Windows Live" clId="Web-{75204FFB-4A87-4AF3-BEDD-07219C4F7370}" dt="2021-12-07T20:29:31.042" v="79" actId="20577"/>
          <ac:spMkLst>
            <pc:docMk/>
            <pc:sldMk cId="663600939" sldId="2076137348"/>
            <ac:spMk id="9" creationId="{6C1E1E07-1B82-4103-9DE9-6A87FA94B4CF}"/>
          </ac:spMkLst>
        </pc:spChg>
      </pc:sldChg>
      <pc:sldChg chg="modSp">
        <pc:chgData name="Ellen Brady" userId="2292e5f9502477d7" providerId="Windows Live" clId="Web-{75204FFB-4A87-4AF3-BEDD-07219C4F7370}" dt="2021-12-07T20:24:29.746" v="67" actId="20577"/>
        <pc:sldMkLst>
          <pc:docMk/>
          <pc:sldMk cId="1068991563" sldId="2076137349"/>
        </pc:sldMkLst>
        <pc:spChg chg="mod">
          <ac:chgData name="Ellen Brady" userId="2292e5f9502477d7" providerId="Windows Live" clId="Web-{75204FFB-4A87-4AF3-BEDD-07219C4F7370}" dt="2021-12-07T20:24:29.746" v="67" actId="20577"/>
          <ac:spMkLst>
            <pc:docMk/>
            <pc:sldMk cId="1068991563" sldId="2076137349"/>
            <ac:spMk id="9" creationId="{6C1E1E07-1B82-4103-9DE9-6A87FA94B4CF}"/>
          </ac:spMkLst>
        </pc:spChg>
      </pc:sldChg>
      <pc:sldChg chg="modSp">
        <pc:chgData name="Ellen Brady" userId="2292e5f9502477d7" providerId="Windows Live" clId="Web-{75204FFB-4A87-4AF3-BEDD-07219C4F7370}" dt="2021-12-07T20:25:32.980" v="75" actId="20577"/>
        <pc:sldMkLst>
          <pc:docMk/>
          <pc:sldMk cId="749218332" sldId="2076137350"/>
        </pc:sldMkLst>
        <pc:spChg chg="mod">
          <ac:chgData name="Ellen Brady" userId="2292e5f9502477d7" providerId="Windows Live" clId="Web-{75204FFB-4A87-4AF3-BEDD-07219C4F7370}" dt="2021-12-07T20:25:32.980" v="75" actId="20577"/>
          <ac:spMkLst>
            <pc:docMk/>
            <pc:sldMk cId="749218332" sldId="2076137350"/>
            <ac:spMk id="9" creationId="{6C1E1E07-1B82-4103-9DE9-6A87FA94B4CF}"/>
          </ac:spMkLst>
        </pc:spChg>
      </pc:sldChg>
      <pc:sldChg chg="modSp">
        <pc:chgData name="Ellen Brady" userId="2292e5f9502477d7" providerId="Windows Live" clId="Web-{75204FFB-4A87-4AF3-BEDD-07219C4F7370}" dt="2021-12-07T20:24:57.199" v="70" actId="20577"/>
        <pc:sldMkLst>
          <pc:docMk/>
          <pc:sldMk cId="753455634" sldId="2076137351"/>
        </pc:sldMkLst>
        <pc:spChg chg="mod">
          <ac:chgData name="Ellen Brady" userId="2292e5f9502477d7" providerId="Windows Live" clId="Web-{75204FFB-4A87-4AF3-BEDD-07219C4F7370}" dt="2021-12-07T20:24:57.199" v="70" actId="20577"/>
          <ac:spMkLst>
            <pc:docMk/>
            <pc:sldMk cId="753455634" sldId="2076137351"/>
            <ac:spMk id="9" creationId="{6C1E1E07-1B82-4103-9DE9-6A87FA94B4CF}"/>
          </ac:spMkLst>
        </pc:spChg>
      </pc:sldChg>
      <pc:sldChg chg="modSp">
        <pc:chgData name="Ellen Brady" userId="2292e5f9502477d7" providerId="Windows Live" clId="Web-{75204FFB-4A87-4AF3-BEDD-07219C4F7370}" dt="2021-12-07T20:30:00.198" v="84" actId="20577"/>
        <pc:sldMkLst>
          <pc:docMk/>
          <pc:sldMk cId="692928180" sldId="2076137352"/>
        </pc:sldMkLst>
        <pc:spChg chg="mod">
          <ac:chgData name="Ellen Brady" userId="2292e5f9502477d7" providerId="Windows Live" clId="Web-{75204FFB-4A87-4AF3-BEDD-07219C4F7370}" dt="2021-12-07T20:30:00.198" v="84" actId="20577"/>
          <ac:spMkLst>
            <pc:docMk/>
            <pc:sldMk cId="692928180" sldId="2076137352"/>
            <ac:spMk id="9" creationId="{6C1E1E07-1B82-4103-9DE9-6A87FA94B4CF}"/>
          </ac:spMkLst>
        </pc:spChg>
      </pc:sldChg>
    </pc:docChg>
  </pc:docChgLst>
  <pc:docChgLst>
    <pc:chgData name="Vanitha Prabhakaran" userId="S::vanithp@microsoft.com::e95eb377-dfdd-4aab-8cbe-ebaf486b18a5" providerId="AD" clId="Web-{8AF3855A-0424-96B1-B2E8-F6C5B2F6BBE0}"/>
    <pc:docChg chg="modSld">
      <pc:chgData name="Vanitha Prabhakaran" userId="S::vanithp@microsoft.com::e95eb377-dfdd-4aab-8cbe-ebaf486b18a5" providerId="AD" clId="Web-{8AF3855A-0424-96B1-B2E8-F6C5B2F6BBE0}" dt="2021-09-02T19:36:43.119" v="2"/>
      <pc:docMkLst>
        <pc:docMk/>
      </pc:docMkLst>
      <pc:sldChg chg="delSp">
        <pc:chgData name="Vanitha Prabhakaran" userId="S::vanithp@microsoft.com::e95eb377-dfdd-4aab-8cbe-ebaf486b18a5" providerId="AD" clId="Web-{8AF3855A-0424-96B1-B2E8-F6C5B2F6BBE0}" dt="2021-09-02T19:36:43.119" v="2"/>
        <pc:sldMkLst>
          <pc:docMk/>
          <pc:sldMk cId="2242852715" sldId="257"/>
        </pc:sldMkLst>
        <pc:spChg chg="del">
          <ac:chgData name="Vanitha Prabhakaran" userId="S::vanithp@microsoft.com::e95eb377-dfdd-4aab-8cbe-ebaf486b18a5" providerId="AD" clId="Web-{8AF3855A-0424-96B1-B2E8-F6C5B2F6BBE0}" dt="2021-09-02T19:36:39.197" v="1"/>
          <ac:spMkLst>
            <pc:docMk/>
            <pc:sldMk cId="2242852715" sldId="257"/>
            <ac:spMk id="3" creationId="{743C3B0A-A836-439B-950C-1AAD5DB5CA53}"/>
          </ac:spMkLst>
        </pc:spChg>
        <pc:spChg chg="del">
          <ac:chgData name="Vanitha Prabhakaran" userId="S::vanithp@microsoft.com::e95eb377-dfdd-4aab-8cbe-ebaf486b18a5" providerId="AD" clId="Web-{8AF3855A-0424-96B1-B2E8-F6C5B2F6BBE0}" dt="2021-09-02T19:36:34.713" v="0"/>
          <ac:spMkLst>
            <pc:docMk/>
            <pc:sldMk cId="2242852715" sldId="257"/>
            <ac:spMk id="4" creationId="{49858A07-02B4-4F10-A82B-C6EA5A0D5BB2}"/>
          </ac:spMkLst>
        </pc:spChg>
        <pc:spChg chg="del">
          <ac:chgData name="Vanitha Prabhakaran" userId="S::vanithp@microsoft.com::e95eb377-dfdd-4aab-8cbe-ebaf486b18a5" providerId="AD" clId="Web-{8AF3855A-0424-96B1-B2E8-F6C5B2F6BBE0}" dt="2021-09-02T19:36:43.119" v="2"/>
          <ac:spMkLst>
            <pc:docMk/>
            <pc:sldMk cId="2242852715" sldId="257"/>
            <ac:spMk id="5" creationId="{93DA8CF5-EB5F-43D7-B113-37F99FA8D657}"/>
          </ac:spMkLst>
        </pc:spChg>
      </pc:sldChg>
    </pc:docChg>
  </pc:docChgLst>
  <pc:docChgLst>
    <pc:chgData name="Pete Puustinen" userId="afdc5376-b007-4d8e-9c19-07b3fbb81413" providerId="ADAL" clId="{44D986B4-E22B-48F8-93F6-576F4CAB8CF1}"/>
    <pc:docChg chg="modSld">
      <pc:chgData name="Pete Puustinen" userId="afdc5376-b007-4d8e-9c19-07b3fbb81413" providerId="ADAL" clId="{44D986B4-E22B-48F8-93F6-576F4CAB8CF1}" dt="2023-02-15T19:28:32.850" v="29" actId="20577"/>
      <pc:docMkLst>
        <pc:docMk/>
      </pc:docMkLst>
      <pc:sldChg chg="modSp mod">
        <pc:chgData name="Pete Puustinen" userId="afdc5376-b007-4d8e-9c19-07b3fbb81413" providerId="ADAL" clId="{44D986B4-E22B-48F8-93F6-576F4CAB8CF1}" dt="2023-02-15T19:28:32.850" v="29" actId="20577"/>
        <pc:sldMkLst>
          <pc:docMk/>
          <pc:sldMk cId="3001679096" sldId="258"/>
        </pc:sldMkLst>
        <pc:spChg chg="mod">
          <ac:chgData name="Pete Puustinen" userId="afdc5376-b007-4d8e-9c19-07b3fbb81413" providerId="ADAL" clId="{44D986B4-E22B-48F8-93F6-576F4CAB8CF1}" dt="2023-02-15T19:28:32.850" v="29" actId="20577"/>
          <ac:spMkLst>
            <pc:docMk/>
            <pc:sldMk cId="3001679096" sldId="258"/>
            <ac:spMk id="3" creationId="{355F4707-2382-4D2B-8385-1E54F39F514C}"/>
          </ac:spMkLst>
        </pc:spChg>
      </pc:sld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docChgLst>
    <pc:chgData name="Moris Montejo" userId="55e843e1-b95f-4cc0-a457-c4d5fafa72c5" providerId="ADAL" clId="{42E5C83A-F16D-477A-9D3C-C4A518DEAB3E}"/>
    <pc:docChg chg="modSld">
      <pc:chgData name="Moris Montejo" userId="55e843e1-b95f-4cc0-a457-c4d5fafa72c5" providerId="ADAL" clId="{42E5C83A-F16D-477A-9D3C-C4A518DEAB3E}" dt="2022-10-20T16:54:17.145" v="13" actId="20577"/>
      <pc:docMkLst>
        <pc:docMk/>
      </pc:docMkLst>
      <pc:sldChg chg="modSp mod">
        <pc:chgData name="Moris Montejo" userId="55e843e1-b95f-4cc0-a457-c4d5fafa72c5" providerId="ADAL" clId="{42E5C83A-F16D-477A-9D3C-C4A518DEAB3E}" dt="2022-10-20T16:54:17.145" v="13" actId="20577"/>
        <pc:sldMkLst>
          <pc:docMk/>
          <pc:sldMk cId="1552217223" sldId="321"/>
        </pc:sldMkLst>
        <pc:spChg chg="mod">
          <ac:chgData name="Moris Montejo" userId="55e843e1-b95f-4cc0-a457-c4d5fafa72c5" providerId="ADAL" clId="{42E5C83A-F16D-477A-9D3C-C4A518DEAB3E}" dt="2022-10-20T16:54:17.145" v="13" actId="20577"/>
          <ac:spMkLst>
            <pc:docMk/>
            <pc:sldMk cId="1552217223" sldId="321"/>
            <ac:spMk id="6" creationId="{A55CB3D1-05CA-47E0-A391-B24EF7D37DC2}"/>
          </ac:spMkLst>
        </pc:spChg>
      </pc:sld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5/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learn.microsoft.com/en-us/power-platform/developer/cli/introduction"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learn.microsoft.com/en-us/power-apps/maker/model-driven-apps/reporting-overview"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5/4/2023</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212720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129251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5370925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208519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220017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2451704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2466985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20892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73830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5/4/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767694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2009909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2</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848098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3293282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066761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438452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067070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7802077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8</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5/4/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defRPr/>
            </a:pPr>
            <a:r>
              <a:rPr lang="fi-FI" sz="882" noProof="1">
                <a:solidFill>
                  <a:prstClr val="black"/>
                </a:solidFill>
                <a:latin typeface="Segoe UI Light" pitchFamily="34" charset="0"/>
              </a:rPr>
              <a:t>1. Open make.powerapps.com</a:t>
            </a:r>
          </a:p>
          <a:p>
            <a:pPr lvl="0" defTabSz="914460">
              <a:lnSpc>
                <a:spcPct val="90000"/>
              </a:lnSpc>
              <a:spcAft>
                <a:spcPts val="333"/>
              </a:spcAft>
              <a:defRPr/>
            </a:pPr>
            <a:r>
              <a:rPr lang="fi-FI" sz="882" noProof="1">
                <a:solidFill>
                  <a:prstClr val="black"/>
                </a:solidFill>
                <a:latin typeface="Segoe UI Light" pitchFamily="34" charset="0"/>
              </a:rPr>
              <a:t>2. Select Contoso Production environment</a:t>
            </a:r>
          </a:p>
          <a:p>
            <a:pPr lvl="0" defTabSz="914460">
              <a:lnSpc>
                <a:spcPct val="90000"/>
              </a:lnSpc>
              <a:spcAft>
                <a:spcPts val="333"/>
              </a:spcAft>
              <a:defRPr/>
            </a:pPr>
            <a:r>
              <a:rPr lang="fi-FI" sz="882" noProof="1">
                <a:solidFill>
                  <a:prstClr val="black"/>
                </a:solidFill>
                <a:latin typeface="Segoe UI Light" pitchFamily="34" charset="0"/>
              </a:rPr>
              <a:t>3. Create new solution named </a:t>
            </a:r>
            <a:r>
              <a:rPr lang="fi-FI" sz="882" b="1" noProof="1">
                <a:solidFill>
                  <a:prstClr val="black"/>
                </a:solidFill>
                <a:latin typeface="Segoe UI Light" pitchFamily="34" charset="0"/>
              </a:rPr>
              <a:t>Contoso Solution</a:t>
            </a:r>
            <a:r>
              <a:rPr lang="fi-FI" sz="882" noProof="1">
                <a:solidFill>
                  <a:prstClr val="black"/>
                </a:solidFill>
                <a:latin typeface="Segoe UI Light" pitchFamily="34" charset="0"/>
              </a:rPr>
              <a:t> and create new publisher named </a:t>
            </a:r>
            <a:r>
              <a:rPr lang="fi-FI" sz="882" b="1" noProof="1">
                <a:solidFill>
                  <a:prstClr val="black"/>
                </a:solidFill>
                <a:latin typeface="Segoe UI Light" pitchFamily="34" charset="0"/>
              </a:rPr>
              <a:t>Contoso</a:t>
            </a:r>
            <a:endParaRPr lang="fi-FI" sz="882" noProof="1">
              <a:solidFill>
                <a:prstClr val="black"/>
              </a:solidFill>
              <a:latin typeface="Segoe UI Light" pitchFamily="34" charset="0"/>
            </a:endParaRPr>
          </a:p>
          <a:p>
            <a:pPr lvl="0" defTabSz="914460">
              <a:lnSpc>
                <a:spcPct val="90000"/>
              </a:lnSpc>
              <a:spcAft>
                <a:spcPts val="333"/>
              </a:spcAft>
              <a:defRPr/>
            </a:pPr>
            <a:r>
              <a:rPr lang="fi-FI" sz="882" noProof="1">
                <a:solidFill>
                  <a:prstClr val="black"/>
                </a:solidFill>
                <a:latin typeface="Segoe UI Light" pitchFamily="34" charset="0"/>
              </a:rPr>
              <a:t>4. Create canvas app, flow and table to solution</a:t>
            </a:r>
            <a:endParaRPr lang="en-US" sz="900" dirty="0">
              <a:solidFill>
                <a:srgbClr val="FFFFFF"/>
              </a:solidFill>
              <a:latin typeface="Segoe UI"/>
            </a:endParaRPr>
          </a:p>
          <a:p>
            <a:pPr marL="0" lvl="0" indent="0">
              <a:buFont typeface="Arial" panose="020B0604020202020204" pitchFamily="34" charset="0"/>
              <a:buNone/>
              <a:defRPr/>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795907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150828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5/4/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9988786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5/4/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00" noProof="1">
                <a:solidFill>
                  <a:prstClr val="black"/>
                </a:solidFill>
                <a:latin typeface="Segoe UI Light" pitchFamily="34" charset="0"/>
              </a:rPr>
              <a:t>Consider demoing the following:</a:t>
            </a:r>
          </a:p>
          <a:p>
            <a:pPr lvl="0" defTabSz="914460">
              <a:lnSpc>
                <a:spcPct val="90000"/>
              </a:lnSpc>
              <a:spcAft>
                <a:spcPts val="333"/>
              </a:spcAft>
              <a:defRPr/>
            </a:pPr>
            <a:r>
              <a:rPr lang="fi-FI" sz="800" noProof="1">
                <a:solidFill>
                  <a:prstClr val="black"/>
                </a:solidFill>
                <a:latin typeface="Segoe UI Light" pitchFamily="34" charset="0"/>
              </a:rPr>
              <a:t>1. Install Power Platform CLI https://aka.ms/PowerAppsCLI</a:t>
            </a:r>
          </a:p>
          <a:p>
            <a:pPr lvl="0" defTabSz="914460">
              <a:lnSpc>
                <a:spcPct val="90000"/>
              </a:lnSpc>
              <a:spcAft>
                <a:spcPts val="333"/>
              </a:spcAft>
              <a:defRPr/>
            </a:pPr>
            <a:endParaRPr lang="en-US" sz="800" dirty="0">
              <a:solidFill>
                <a:srgbClr val="FFFFFF"/>
              </a:solidFill>
              <a:latin typeface="Segoe UI"/>
            </a:endParaRPr>
          </a:p>
          <a:p>
            <a:pPr lvl="0" defTabSz="914460">
              <a:lnSpc>
                <a:spcPct val="90000"/>
              </a:lnSpc>
              <a:spcAft>
                <a:spcPts val="333"/>
              </a:spcAft>
              <a:defRPr/>
            </a:pPr>
            <a:r>
              <a:rPr lang="en-US" sz="800" dirty="0">
                <a:solidFill>
                  <a:srgbClr val="FFFFFF"/>
                </a:solidFill>
                <a:latin typeface="Segoe UI"/>
              </a:rPr>
              <a:t>2. Open CMD and run following command to login using MOD admin creds into Contoso Production environment (replace </a:t>
            </a:r>
            <a:r>
              <a:rPr lang="en-US" sz="800" dirty="0" err="1">
                <a:solidFill>
                  <a:srgbClr val="FFFFFF"/>
                </a:solidFill>
                <a:latin typeface="Segoe UI"/>
              </a:rPr>
              <a:t>EnvironmentUrl</a:t>
            </a:r>
            <a:r>
              <a:rPr lang="en-US" sz="800" dirty="0">
                <a:solidFill>
                  <a:srgbClr val="FFFFFF"/>
                </a:solidFill>
                <a:latin typeface="Segoe UI"/>
              </a:rPr>
              <a:t> with correct environment which is like this https://org1234566.crm4.dynamics.com)</a:t>
            </a:r>
          </a:p>
          <a:p>
            <a:pPr lvl="0" defTabSz="914460">
              <a:lnSpc>
                <a:spcPct val="90000"/>
              </a:lnSpc>
              <a:spcAft>
                <a:spcPts val="333"/>
              </a:spcAft>
              <a:defRPr/>
            </a:pPr>
            <a:r>
              <a:rPr lang="en-US" sz="800" b="1" dirty="0">
                <a:solidFill>
                  <a:srgbClr val="FFFFFF"/>
                </a:solidFill>
                <a:latin typeface="Segoe UI"/>
              </a:rPr>
              <a:t>    </a:t>
            </a:r>
            <a:r>
              <a:rPr lang="en-US" sz="800" b="1" dirty="0" err="1">
                <a:solidFill>
                  <a:srgbClr val="FFFFFF"/>
                </a:solidFill>
                <a:latin typeface="Segoe UI"/>
              </a:rPr>
              <a:t>pac</a:t>
            </a:r>
            <a:r>
              <a:rPr lang="en-US" sz="800" b="1" dirty="0">
                <a:solidFill>
                  <a:srgbClr val="FFFFFF"/>
                </a:solidFill>
                <a:latin typeface="Segoe UI"/>
              </a:rPr>
              <a:t> auth create -u  {</a:t>
            </a:r>
            <a:r>
              <a:rPr lang="en-US" sz="800" b="1" dirty="0" err="1">
                <a:solidFill>
                  <a:srgbClr val="FFFFFF"/>
                </a:solidFill>
                <a:latin typeface="Segoe UI"/>
              </a:rPr>
              <a:t>EnvironmentURL</a:t>
            </a:r>
            <a:r>
              <a:rPr lang="en-US" sz="800" b="1" dirty="0">
                <a:solidFill>
                  <a:srgbClr val="FFFFFF"/>
                </a:solidFill>
                <a:latin typeface="Segoe UI"/>
              </a:rPr>
              <a:t>}</a:t>
            </a:r>
          </a:p>
          <a:p>
            <a:pPr lvl="0" defTabSz="914460">
              <a:lnSpc>
                <a:spcPct val="90000"/>
              </a:lnSpc>
              <a:spcAft>
                <a:spcPts val="333"/>
              </a:spcAft>
              <a:defRPr/>
            </a:pPr>
            <a:endParaRPr lang="en-US" sz="800" b="1" dirty="0">
              <a:solidFill>
                <a:srgbClr val="FFFFFF"/>
              </a:solidFill>
              <a:latin typeface="Segoe UI"/>
            </a:endParaRPr>
          </a:p>
          <a:p>
            <a:pPr lvl="0" defTabSz="914460">
              <a:lnSpc>
                <a:spcPct val="90000"/>
              </a:lnSpc>
              <a:spcAft>
                <a:spcPts val="333"/>
              </a:spcAft>
              <a:defRPr/>
            </a:pPr>
            <a:r>
              <a:rPr lang="en-US" sz="800" b="0" dirty="0">
                <a:solidFill>
                  <a:srgbClr val="FFFFFF"/>
                </a:solidFill>
                <a:latin typeface="Segoe UI"/>
              </a:rPr>
              <a:t>3. Export Contoso Solution to C:\Temp by running the following command</a:t>
            </a:r>
          </a:p>
          <a:p>
            <a:pPr lvl="0" defTabSz="914460">
              <a:lnSpc>
                <a:spcPct val="90000"/>
              </a:lnSpc>
              <a:spcAft>
                <a:spcPts val="333"/>
              </a:spcAft>
              <a:defRPr/>
            </a:pPr>
            <a:r>
              <a:rPr lang="en-US" sz="800" b="1" dirty="0">
                <a:solidFill>
                  <a:srgbClr val="FFFFFF"/>
                </a:solidFill>
                <a:latin typeface="Segoe UI"/>
              </a:rPr>
              <a:t>    </a:t>
            </a:r>
            <a:r>
              <a:rPr lang="en-US" sz="800" b="1" dirty="0" err="1">
                <a:solidFill>
                  <a:srgbClr val="FFFFFF"/>
                </a:solidFill>
                <a:latin typeface="Segoe UI"/>
              </a:rPr>
              <a:t>pac</a:t>
            </a:r>
            <a:r>
              <a:rPr lang="en-US" sz="800" b="1" dirty="0">
                <a:solidFill>
                  <a:srgbClr val="FFFFFF"/>
                </a:solidFill>
                <a:latin typeface="Segoe UI"/>
              </a:rPr>
              <a:t> solution export –n </a:t>
            </a:r>
            <a:r>
              <a:rPr lang="en-US" sz="800" b="1" dirty="0" err="1">
                <a:solidFill>
                  <a:srgbClr val="FFFFFF"/>
                </a:solidFill>
                <a:latin typeface="Segoe UI"/>
              </a:rPr>
              <a:t>ContosoSolution</a:t>
            </a:r>
            <a:r>
              <a:rPr lang="en-US" sz="800" b="1" dirty="0">
                <a:solidFill>
                  <a:srgbClr val="FFFFFF"/>
                </a:solidFill>
                <a:latin typeface="Segoe UI"/>
              </a:rPr>
              <a:t> –p C:\Temp -m</a:t>
            </a:r>
          </a:p>
          <a:p>
            <a:pPr marL="0" lvl="0" indent="0">
              <a:buFont typeface="Arial" panose="020B0604020202020204" pitchFamily="34" charset="0"/>
              <a:buNone/>
              <a:defRPr/>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24866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2</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9579358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algn="l"/>
            <a:r>
              <a:rPr lang="en-US" b="0" i="0" dirty="0">
                <a:solidFill>
                  <a:srgbClr val="E6E6E6"/>
                </a:solidFill>
                <a:effectLst/>
                <a:latin typeface="Segoe UI" panose="020B0502040204020203" pitchFamily="34" charset="0"/>
              </a:rPr>
              <a:t>Pipelines significantly reduce the effort and domain knowledge previously required to realize the ROI from adopting healthy, automated ALM processes within your team or organization.</a:t>
            </a:r>
          </a:p>
          <a:p>
            <a:pPr algn="l"/>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Admins easily configure automated deployment pipelines in minutes rather than days or weeks.</a:t>
            </a:r>
          </a:p>
          <a:p>
            <a:pPr algn="l">
              <a:buFont typeface="Arial" panose="020B0604020202020204" pitchFamily="34" charset="0"/>
              <a:buChar char="•"/>
            </a:pPr>
            <a:r>
              <a:rPr lang="en-US" b="0" i="0" dirty="0">
                <a:solidFill>
                  <a:srgbClr val="E6E6E6"/>
                </a:solidFill>
                <a:effectLst/>
                <a:latin typeface="Segoe UI" panose="020B0502040204020203" pitchFamily="34" charset="0"/>
              </a:rPr>
              <a:t>Makers have an intuitive user experience for easily deploying their solutions.</a:t>
            </a:r>
          </a:p>
          <a:p>
            <a:pPr algn="l">
              <a:buFont typeface="Arial" panose="020B0604020202020204" pitchFamily="34" charset="0"/>
              <a:buChar char="•"/>
            </a:pPr>
            <a:r>
              <a:rPr lang="en-US" b="0" i="0" dirty="0">
                <a:solidFill>
                  <a:srgbClr val="E6E6E6"/>
                </a:solidFill>
                <a:effectLst/>
                <a:latin typeface="Segoe UI" panose="020B0502040204020203" pitchFamily="34" charset="0"/>
              </a:rPr>
              <a:t>Professional developers can (optionally) run pipelines using their preferred tools such as the Power Platform command line interface (CLI).</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2281360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algn="l"/>
            <a:r>
              <a:rPr lang="en-US" b="1" i="0" dirty="0">
                <a:solidFill>
                  <a:srgbClr val="E6E6E6"/>
                </a:solidFill>
                <a:effectLst/>
                <a:latin typeface="Segoe UI" panose="020B0502040204020203" pitchFamily="34" charset="0"/>
              </a:rPr>
              <a:t>Admins centrally manage and govern pipelines</a:t>
            </a:r>
          </a:p>
          <a:p>
            <a:pPr algn="l"/>
            <a:r>
              <a:rPr lang="en-US" b="0" i="0" dirty="0">
                <a:solidFill>
                  <a:srgbClr val="E6E6E6"/>
                </a:solidFill>
                <a:effectLst/>
                <a:latin typeface="Segoe UI" panose="020B0502040204020203" pitchFamily="34" charset="0"/>
              </a:rPr>
              <a:t>Pipelines enable admins to centrally govern citizen-led and pro-dev-led projects at scale with less effort. Admins set up the appropriate safeguards that govern and facilitate solution development, testing, and delivery across the organization. Other admin benefits include:</a:t>
            </a:r>
          </a:p>
          <a:p>
            <a:pPr algn="l">
              <a:buFont typeface="Arial" panose="020B0604020202020204" pitchFamily="34" charset="0"/>
              <a:buChar char="•"/>
            </a:pPr>
            <a:r>
              <a:rPr lang="en-US" b="0" i="0" dirty="0">
                <a:solidFill>
                  <a:srgbClr val="E6E6E6"/>
                </a:solidFill>
                <a:effectLst/>
                <a:latin typeface="Segoe UI" panose="020B0502040204020203" pitchFamily="34" charset="0"/>
              </a:rPr>
              <a:t>Lower total cost of ownership:</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Pipelines significantly improve maker, developer, and admin productivity. Pipelines enable your business solutions to come to market faster, with higher quality, through a safe and governed process.</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Minimal effort to implement custom-tailored change management processes across your organization or team.</a:t>
            </a:r>
          </a:p>
          <a:p>
            <a:pPr algn="l">
              <a:buFont typeface="Arial" panose="020B0604020202020204" pitchFamily="34" charset="0"/>
              <a:buChar char="•"/>
            </a:pPr>
            <a:r>
              <a:rPr lang="en-US" b="0" i="0" dirty="0">
                <a:solidFill>
                  <a:srgbClr val="E6E6E6"/>
                </a:solidFill>
                <a:effectLst/>
                <a:latin typeface="Segoe UI" panose="020B0502040204020203" pitchFamily="34" charset="0"/>
              </a:rPr>
              <a:t>Save time and money:</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The system handles the heavy lifting and ongoing maintenance so you don't have to.</a:t>
            </a:r>
          </a:p>
          <a:p>
            <a:pPr algn="l">
              <a:buFont typeface="Arial" panose="020B0604020202020204" pitchFamily="34" charset="0"/>
              <a:buChar char="•"/>
            </a:pPr>
            <a:r>
              <a:rPr lang="en-US" b="0" i="0" dirty="0">
                <a:solidFill>
                  <a:srgbClr val="E6E6E6"/>
                </a:solidFill>
                <a:effectLst/>
                <a:latin typeface="Segoe UI" panose="020B0502040204020203" pitchFamily="34" charset="0"/>
              </a:rPr>
              <a:t>Scale ALM at your own pace:</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Regardless of where you're at in your ALM journey, you can extend pipelines to accommodate your evolving business needs. We aim for this upward transition to be as seamless and effortless as possible. More information: </a:t>
            </a:r>
            <a:r>
              <a:rPr lang="en-US" b="0" i="0" u="none" strike="noStrike" dirty="0">
                <a:solidFill>
                  <a:srgbClr val="E6E6E6"/>
                </a:solidFill>
                <a:effectLst/>
                <a:latin typeface="Segoe UI" panose="020B0502040204020203" pitchFamily="34" charset="0"/>
                <a:hlinkClick r:id="rId3"/>
              </a:rPr>
              <a:t>Microsoft Power Platform CLI</a:t>
            </a: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Achieve compliance, safety, monitoring, and automation goals with:</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Customizations and audit logs saved automatically and are easily accessible.</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Out-of-the-box analytics provides better visibility within a central location.</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The ability to create your own reports from within the pipelines app. More information: </a:t>
            </a:r>
            <a:r>
              <a:rPr lang="en-US" b="0" i="0" u="none" strike="noStrike" dirty="0">
                <a:solidFill>
                  <a:srgbClr val="E6E6E6"/>
                </a:solidFill>
                <a:effectLst/>
                <a:latin typeface="Segoe UI" panose="020B0502040204020203" pitchFamily="34" charset="0"/>
                <a:hlinkClick r:id="rId4"/>
              </a:rPr>
              <a:t>Reporting overview for model-driven apps</a:t>
            </a:r>
            <a:endParaRPr lang="en-US" b="0" i="0" dirty="0">
              <a:solidFill>
                <a:srgbClr val="E6E6E6"/>
              </a:solidFill>
              <a:effectLst/>
              <a:latin typeface="Segoe UI" panose="020B0502040204020203" pitchFamily="34" charset="0"/>
            </a:endParaRPr>
          </a:p>
          <a:p>
            <a:pPr algn="l"/>
            <a:endParaRPr lang="en-US" b="0" i="0" dirty="0">
              <a:solidFill>
                <a:srgbClr val="E6E6E6"/>
              </a:solidFill>
              <a:effectLst/>
              <a:latin typeface="Segoe UI" panose="020B0502040204020203" pitchFamily="34" charset="0"/>
            </a:endParaRPr>
          </a:p>
          <a:p>
            <a:pPr marL="0" indent="0">
              <a:buFont typeface="Arial" panose="020B0604020202020204" pitchFamily="34" charset="0"/>
              <a:buNone/>
            </a:pPr>
            <a:endParaRPr lang="en-US" dirty="0"/>
          </a:p>
          <a:p>
            <a:pPr algn="l"/>
            <a:r>
              <a:rPr lang="en-US" b="1" i="0" dirty="0">
                <a:solidFill>
                  <a:srgbClr val="E6E6E6"/>
                </a:solidFill>
                <a:effectLst/>
                <a:latin typeface="Segoe UI" panose="020B0502040204020203" pitchFamily="34" charset="0"/>
              </a:rPr>
              <a:t>Makers run preconfigured pipelines</a:t>
            </a:r>
          </a:p>
          <a:p>
            <a:pPr algn="l"/>
            <a:r>
              <a:rPr lang="en-US" b="0" i="0" dirty="0">
                <a:solidFill>
                  <a:srgbClr val="E6E6E6"/>
                </a:solidFill>
                <a:effectLst/>
                <a:latin typeface="Segoe UI" panose="020B0502040204020203" pitchFamily="34" charset="0"/>
              </a:rPr>
              <a:t>Once pipelines are in place, makers can initiate in-product deployments with a few clicks. They do so directly within their development environments. Other benefits to makers include:</a:t>
            </a:r>
          </a:p>
          <a:p>
            <a:pPr algn="l">
              <a:buFont typeface="Arial" panose="020B0604020202020204" pitchFamily="34" charset="0"/>
              <a:buChar char="•"/>
            </a:pPr>
            <a:r>
              <a:rPr lang="en-US" b="0" i="0" dirty="0">
                <a:solidFill>
                  <a:srgbClr val="E6E6E6"/>
                </a:solidFill>
                <a:effectLst/>
                <a:latin typeface="Segoe UI" panose="020B0502040204020203" pitchFamily="34" charset="0"/>
              </a:rPr>
              <a:t>No prior knowledge of ALM processes or systems required. Citizen developers often view pipelines as a guided change management process.</a:t>
            </a:r>
          </a:p>
          <a:p>
            <a:pPr algn="l">
              <a:buFont typeface="Arial" panose="020B0604020202020204" pitchFamily="34" charset="0"/>
              <a:buChar char="•"/>
            </a:pPr>
            <a:r>
              <a:rPr lang="en-US" b="0" i="0" dirty="0">
                <a:solidFill>
                  <a:srgbClr val="E6E6E6"/>
                </a:solidFill>
                <a:effectLst/>
                <a:latin typeface="Segoe UI" panose="020B0502040204020203" pitchFamily="34" charset="0"/>
              </a:rPr>
              <a:t>Solution deployments are </a:t>
            </a:r>
            <a:r>
              <a:rPr lang="en-US" b="0" i="0" dirty="0" err="1">
                <a:solidFill>
                  <a:srgbClr val="E6E6E6"/>
                </a:solidFill>
                <a:effectLst/>
                <a:latin typeface="Segoe UI" panose="020B0502040204020203" pitchFamily="34" charset="0"/>
              </a:rPr>
              <a:t>prevalidated</a:t>
            </a:r>
            <a:r>
              <a:rPr lang="en-US" b="0" i="0" dirty="0">
                <a:solidFill>
                  <a:srgbClr val="E6E6E6"/>
                </a:solidFill>
                <a:effectLst/>
                <a:latin typeface="Segoe UI" panose="020B0502040204020203" pitchFamily="34" charset="0"/>
              </a:rPr>
              <a:t> against the target environment to prevent mistakes and improve success rates. For example, missing dependencies and other issues are detected before deployment and makers are immediately guided to take the appropriate action.</a:t>
            </a:r>
          </a:p>
          <a:p>
            <a:pPr algn="l">
              <a:buFont typeface="Arial" panose="020B0604020202020204" pitchFamily="34" charset="0"/>
              <a:buChar char="•"/>
            </a:pPr>
            <a:r>
              <a:rPr lang="en-US" b="0" i="0" dirty="0">
                <a:solidFill>
                  <a:srgbClr val="E6E6E6"/>
                </a:solidFill>
                <a:effectLst/>
                <a:latin typeface="Segoe UI" panose="020B0502040204020203" pitchFamily="34" charset="0"/>
              </a:rPr>
              <a:t>Connections and environment variables are provided upfront and validated before the deployment begins.</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This helps ensure applications and automation are deployed without needing manual post-processing steps, and are connected to the appropriate data sources within each environment.</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Admins can even preconfigure certain connections that will be used.</a:t>
            </a:r>
          </a:p>
          <a:p>
            <a:pPr marL="0" indent="0">
              <a:buFont typeface="Arial" panose="020B0604020202020204" pitchFamily="34" charset="0"/>
              <a:buNone/>
            </a:pPr>
            <a:endParaRPr lang="en-US" dirty="0"/>
          </a:p>
          <a:p>
            <a:pPr algn="l"/>
            <a:r>
              <a:rPr lang="en-US" b="1" i="0" dirty="0">
                <a:solidFill>
                  <a:srgbClr val="E6E6E6"/>
                </a:solidFill>
                <a:effectLst/>
                <a:latin typeface="Segoe UI" panose="020B0502040204020203" pitchFamily="34" charset="0"/>
              </a:rPr>
              <a:t>Developers can use the same pipelines</a:t>
            </a:r>
          </a:p>
          <a:p>
            <a:pPr algn="l"/>
            <a:r>
              <a:rPr lang="en-US" b="0" i="0" dirty="0">
                <a:solidFill>
                  <a:srgbClr val="E6E6E6"/>
                </a:solidFill>
                <a:effectLst/>
                <a:latin typeface="Segoe UI" panose="020B0502040204020203" pitchFamily="34" charset="0"/>
              </a:rPr>
              <a:t>Professional developers are more productive with pipelines now handling the complex background operations. Developers can tell the system what they want to accomplish instead of executing the various underlying tasks necessary to accomplish the same goal. Using the Power Platform CLI, developers can:</a:t>
            </a:r>
          </a:p>
          <a:p>
            <a:pPr algn="l">
              <a:buFont typeface="Arial" panose="020B0604020202020204" pitchFamily="34" charset="0"/>
              <a:buChar char="•"/>
            </a:pPr>
            <a:r>
              <a:rPr lang="en-US" b="0" i="0" dirty="0">
                <a:solidFill>
                  <a:srgbClr val="E6E6E6"/>
                </a:solidFill>
                <a:effectLst/>
                <a:latin typeface="Segoe UI" panose="020B0502040204020203" pitchFamily="34" charset="0"/>
              </a:rPr>
              <a:t>List pipelines to view pertinent details such as which stages and environments are ready to deploy their solutions to.</a:t>
            </a:r>
          </a:p>
          <a:p>
            <a:pPr algn="l">
              <a:buFont typeface="Arial" panose="020B0604020202020204" pitchFamily="34" charset="0"/>
              <a:buChar char="•"/>
            </a:pPr>
            <a:r>
              <a:rPr lang="en-US" b="0" i="0" dirty="0">
                <a:solidFill>
                  <a:srgbClr val="E6E6E6"/>
                </a:solidFill>
                <a:effectLst/>
                <a:latin typeface="Segoe UI" panose="020B0502040204020203" pitchFamily="34" charset="0"/>
              </a:rPr>
              <a:t>Deploy a solution with a single command:</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With pipelines, developers simply provide the required parameters and the system orchestrates all the end-to-end deployment operations in compliance with the organizational policies.</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No need to connect to multiple environments, export solutions, download solution files, manually create connections and populate deployment settings files, import solutions, or handle various other tasks that were required previously.</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6399547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0075583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algn="l"/>
            <a:r>
              <a:rPr lang="en-US" b="0" i="0" dirty="0">
                <a:solidFill>
                  <a:srgbClr val="E6E6E6"/>
                </a:solidFill>
                <a:effectLst/>
                <a:latin typeface="Segoe UI" panose="020B0502040204020203" pitchFamily="34" charset="0"/>
              </a:rPr>
              <a:t>When you installed the Power Platform pipelines application, two security roles were added:</a:t>
            </a:r>
          </a:p>
          <a:p>
            <a:pPr algn="l">
              <a:buFont typeface="Arial" panose="020B0604020202020204" pitchFamily="34" charset="0"/>
              <a:buChar char="•"/>
            </a:pPr>
            <a:r>
              <a:rPr lang="en-US" b="1" i="0" dirty="0">
                <a:solidFill>
                  <a:srgbClr val="E6E6E6"/>
                </a:solidFill>
                <a:effectLst/>
                <a:latin typeface="Segoe UI" panose="020B0502040204020203" pitchFamily="34" charset="0"/>
              </a:rPr>
              <a:t>Deployment Pipeline User</a:t>
            </a:r>
            <a:r>
              <a:rPr lang="en-US" b="0" i="0" dirty="0">
                <a:solidFill>
                  <a:srgbClr val="E6E6E6"/>
                </a:solidFill>
                <a:effectLst/>
                <a:latin typeface="Segoe UI" panose="020B0502040204020203" pitchFamily="34" charset="0"/>
              </a:rPr>
              <a:t>: Has privileges to run pipelines that have been shared with them.</a:t>
            </a:r>
          </a:p>
          <a:p>
            <a:pPr algn="l">
              <a:buFont typeface="Arial" panose="020B0604020202020204" pitchFamily="34" charset="0"/>
              <a:buChar char="•"/>
            </a:pPr>
            <a:r>
              <a:rPr lang="en-US" b="1" i="0" dirty="0">
                <a:solidFill>
                  <a:srgbClr val="E6E6E6"/>
                </a:solidFill>
                <a:effectLst/>
                <a:latin typeface="Segoe UI" panose="020B0502040204020203" pitchFamily="34" charset="0"/>
              </a:rPr>
              <a:t>Deployment Pipeline Administrator</a:t>
            </a:r>
            <a:r>
              <a:rPr lang="en-US" b="0" i="0" dirty="0">
                <a:solidFill>
                  <a:srgbClr val="E6E6E6"/>
                </a:solidFill>
                <a:effectLst/>
                <a:latin typeface="Segoe UI" panose="020B0502040204020203" pitchFamily="34" charset="0"/>
              </a:rPr>
              <a:t>: Has full control over all pipeline configuration, without needing system administrator security role membership.</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6127011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tep 4 notes - </a:t>
            </a:r>
            <a:r>
              <a:rPr lang="en-US" b="0" i="0" dirty="0">
                <a:solidFill>
                  <a:srgbClr val="E6E6E6"/>
                </a:solidFill>
                <a:effectLst/>
                <a:latin typeface="Segoe UI" panose="020B0502040204020203" pitchFamily="34" charset="0"/>
              </a:rPr>
              <a:t>This initiates validation of the solution against the test environment. This validation can also be referred to as “pre-flight” checks. Missing dependencies and other common issues are checked that might cause a deployment to fail.</a:t>
            </a:r>
            <a:endParaRPr lang="en-US" dirty="0"/>
          </a:p>
        </p:txBody>
      </p:sp>
    </p:spTree>
    <p:extLst>
      <p:ext uri="{BB962C8B-B14F-4D97-AF65-F5344CB8AC3E}">
        <p14:creationId xmlns:p14="http://schemas.microsoft.com/office/powerpoint/2010/main" val="5037523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8</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9851013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987382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9333069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9877345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1911365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1041687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446132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324893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7503840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2488152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0404903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441464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50</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5/4/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https://labondemand.com/LabProfile/</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1</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335140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52</a:t>
            </a:fld>
            <a:endParaRPr lang="en-US" dirty="0"/>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5/4/2023</a:t>
            </a:fld>
            <a:endParaRPr lang="en-US" dirty="0"/>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29901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388713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578160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5939661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39856393"/>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74893851"/>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65581519"/>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360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39.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9.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2.xml"/><Relationship Id="rId1" Type="http://schemas.openxmlformats.org/officeDocument/2006/relationships/tags" Target="../tags/tag20.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2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tags" Target="../tags/tag2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6.xml"/><Relationship Id="rId7"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tags" Target="../tags/tag2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27.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7.png"/><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9.xml"/><Relationship Id="rId7" Type="http://schemas.openxmlformats.org/officeDocument/2006/relationships/image" Target="../media/image17.png"/><Relationship Id="rId2" Type="http://schemas.openxmlformats.org/officeDocument/2006/relationships/slideLayout" Target="../slideLayouts/slideLayout9.xml"/><Relationship Id="rId1" Type="http://schemas.openxmlformats.org/officeDocument/2006/relationships/tags" Target="../tags/tag29.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0.xml"/><Relationship Id="rId7" Type="http://schemas.openxmlformats.org/officeDocument/2006/relationships/image" Target="../media/image17.png"/><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9.png"/></Relationships>
</file>

<file path=ppt/slides/_rels/slide2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1.xml"/><Relationship Id="rId7" Type="http://schemas.openxmlformats.org/officeDocument/2006/relationships/image" Target="../media/image17.png"/><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16.png"/><Relationship Id="rId5" Type="http://schemas.openxmlformats.org/officeDocument/2006/relationships/image" Target="../media/image11.png"/><Relationship Id="rId10" Type="http://schemas.openxmlformats.org/officeDocument/2006/relationships/image" Target="../media/image20.png"/><Relationship Id="rId4" Type="http://schemas.openxmlformats.org/officeDocument/2006/relationships/image" Target="../media/image10.png"/><Relationship Id="rId9"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3.xml"/><Relationship Id="rId1" Type="http://schemas.openxmlformats.org/officeDocument/2006/relationships/tags" Target="../tags/tag32.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24.sv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7.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8.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customXml" Target="../../customXml/item40.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hyperlink" Target="https://docs.microsoft.com/en-us/powerapps/developer/data-platform/plug-ins" TargetMode="External"/><Relationship Id="rId3" Type="http://schemas.openxmlformats.org/officeDocument/2006/relationships/notesSlide" Target="../notesSlides/notesSlide30.xml"/><Relationship Id="rId7" Type="http://schemas.openxmlformats.org/officeDocument/2006/relationships/hyperlink" Target="https://docs.microsoft.com/en-us/powerapps/developer/component-framework/overview" TargetMode="External"/><Relationship Id="rId2" Type="http://schemas.openxmlformats.org/officeDocument/2006/relationships/slideLayout" Target="../slideLayouts/slideLayout10.xml"/><Relationship Id="rId1" Type="http://schemas.openxmlformats.org/officeDocument/2006/relationships/tags" Target="../tags/tag46.xml"/><Relationship Id="rId6" Type="http://schemas.openxmlformats.org/officeDocument/2006/relationships/hyperlink" Target="https://docs.microsoft.com/en-us/powerapps/maker/portals/power-apps-cli" TargetMode="External"/><Relationship Id="rId5" Type="http://schemas.openxmlformats.org/officeDocument/2006/relationships/hyperlink" Target="https://docs.microsoft.com/en-us/power-platform/alm/package-deployer-tool" TargetMode="External"/><Relationship Id="rId4" Type="http://schemas.openxmlformats.org/officeDocument/2006/relationships/hyperlink" Target="https://docs.microsoft.com/en-us/powerapps/developer/component-framework/import-custom-controls#connecting-to-your-environment"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8.bin"/><Relationship Id="rId5" Type="http://schemas.openxmlformats.org/officeDocument/2006/relationships/hyperlink" Target="https://org1234566.crm4.dynamics.com/" TargetMode="Externa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4.xml"/><Relationship Id="rId1" Type="http://schemas.openxmlformats.org/officeDocument/2006/relationships/tags" Target="../tags/tag49.xml"/><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hyperlink" Target="https://learn.microsoft.com/en-us/power-platform/alm/pipelines" TargetMode="External"/><Relationship Id="rId5" Type="http://schemas.openxmlformats.org/officeDocument/2006/relationships/image" Target="../media/image31.pn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xml"/><Relationship Id="rId1" Type="http://schemas.openxmlformats.org/officeDocument/2006/relationships/tags" Target="../tags/tag52.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hyperlink" Target="https://learn.microsoft.com/en-us/power-platform/alm/set-up-pipelines#grant-access-to-edit-or-run-pipelines" TargetMode="External"/><Relationship Id="rId3" Type="http://schemas.openxmlformats.org/officeDocument/2006/relationships/slideLayout" Target="../slideLayouts/slideLayout10.xml"/><Relationship Id="rId7" Type="http://schemas.openxmlformats.org/officeDocument/2006/relationships/hyperlink" Target="https://learn.microsoft.com/en-us/power-platform/alm/set-up-pipelines#configure-a-deployment-pipeline" TargetMode="Externa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learn.microsoft.com/en-us/power-platform/alm/set-up-pipelines#install-the-pipelines-application-in-your-host-environment" TargetMode="External"/><Relationship Id="rId11" Type="http://schemas.openxmlformats.org/officeDocument/2006/relationships/hyperlink" Target="https://learn.microsoft.com/en-us/power-platform/alm/set-up-pipelines#centrally-manage-and-monitor-deployments" TargetMode="External"/><Relationship Id="rId5" Type="http://schemas.openxmlformats.org/officeDocument/2006/relationships/hyperlink" Target="https://learn.microsoft.com/en-us/power-platform/alm/set-up-pipelines#choose-environments-for-pipelines" TargetMode="External"/><Relationship Id="rId10" Type="http://schemas.openxmlformats.org/officeDocument/2006/relationships/hyperlink" Target="https://learn.microsoft.com/en-us/power-platform/alm/set-up-pipelines#share-with-pipeline-administrators" TargetMode="External"/><Relationship Id="rId4" Type="http://schemas.openxmlformats.org/officeDocument/2006/relationships/notesSlide" Target="../notesSlides/notesSlide36.xml"/><Relationship Id="rId9" Type="http://schemas.openxmlformats.org/officeDocument/2006/relationships/hyperlink" Target="https://learn.microsoft.com/en-us/power-platform/alm/set-up-pipelines#share-pipelines-with-makers"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7.xml"/><Relationship Id="rId7" Type="http://schemas.openxmlformats.org/officeDocument/2006/relationships/image" Target="../media/image37.png"/><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10.png"/><Relationship Id="rId9" Type="http://schemas.openxmlformats.org/officeDocument/2006/relationships/image" Target="../media/image39.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5.xml"/><Relationship Id="rId1" Type="http://schemas.openxmlformats.org/officeDocument/2006/relationships/tags" Target="../tags/tag58.xml"/><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1.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42.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43.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4.png"/><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5.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6.xml"/><Relationship Id="rId1" Type="http://schemas.openxmlformats.org/officeDocument/2006/relationships/tags" Target="../tags/tag69.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46.png"/><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47.png"/><Relationship Id="rId5" Type="http://schemas.openxmlformats.org/officeDocument/2006/relationships/hyperlink" Target="https://github.com/marketplace/actions/powerplatform-actions" TargetMode="Externa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50.pn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4.xml"/><Relationship Id="rId1" Type="http://schemas.openxmlformats.org/officeDocument/2006/relationships/tags" Target="../tags/tag8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4.xml"/><Relationship Id="rId1" Type="http://schemas.openxmlformats.org/officeDocument/2006/relationships/tags" Target="../tags/tag81.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3.xml"/><Relationship Id="rId1" Type="http://schemas.openxmlformats.org/officeDocument/2006/relationships/tags" Target="../tags/tag8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dirty="0"/>
              <a:t>Workshop</a:t>
            </a:r>
            <a:r>
              <a:rPr lang="en-FI" sz="4800" dirty="0"/>
              <a:t>PLUS  </a:t>
            </a:r>
            <a:br>
              <a:rPr lang="en-FI" sz="4800" dirty="0"/>
            </a:br>
            <a:r>
              <a:rPr lang="en-US" sz="4800" dirty="0"/>
              <a:t>Power Platform</a:t>
            </a:r>
            <a:r>
              <a:rPr lang="en-FI" sz="4800" dirty="0"/>
              <a:t> </a:t>
            </a:r>
            <a:r>
              <a:rPr lang="en-US" sz="4800" dirty="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5300965" cy="1226607"/>
          </a:xfrm>
        </p:spPr>
        <p:txBody>
          <a:bodyPr>
            <a:normAutofit/>
          </a:bodyPr>
          <a:lstStyle/>
          <a:p>
            <a:r>
              <a:rPr lang="en-US" sz="2800" dirty="0"/>
              <a:t>Application Lifecyle Management</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Who should have access?</a:t>
            </a:r>
          </a:p>
        </p:txBody>
      </p:sp>
      <p:pic>
        <p:nvPicPr>
          <p:cNvPr id="8" name="Picture 7">
            <a:extLst>
              <a:ext uri="{FF2B5EF4-FFF2-40B4-BE49-F238E27FC236}">
                <a16:creationId xmlns:a16="http://schemas.microsoft.com/office/drawing/2014/main" id="{03D41C90-5C08-4FFA-820E-2F2790B6F8D8}"/>
              </a:ext>
            </a:extLst>
          </p:cNvPr>
          <p:cNvPicPr>
            <a:picLocks noChangeAspect="1"/>
          </p:cNvPicPr>
          <p:nvPr/>
        </p:nvPicPr>
        <p:blipFill>
          <a:blip r:embed="rId4"/>
          <a:stretch>
            <a:fillRect/>
          </a:stretch>
        </p:blipFill>
        <p:spPr>
          <a:xfrm>
            <a:off x="1554211" y="1137684"/>
            <a:ext cx="9163408" cy="5480918"/>
          </a:xfrm>
          <a:prstGeom prst="rect">
            <a:avLst/>
          </a:prstGeom>
        </p:spPr>
      </p:pic>
      <p:sp>
        <p:nvSpPr>
          <p:cNvPr id="2" name="Footer Placeholder 2">
            <a:extLst>
              <a:ext uri="{FF2B5EF4-FFF2-40B4-BE49-F238E27FC236}">
                <a16:creationId xmlns:a16="http://schemas.microsoft.com/office/drawing/2014/main" id="{2B8B1F8D-EA8D-B0C2-CA05-A4B141832F1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215520065"/>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dirty="0"/>
              <a:t>Deploy Resources using a Package</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740607867"/>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Platform Packages</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237982"/>
            <a:ext cx="6542604" cy="5055427"/>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600"/>
              </a:spcAft>
            </a:pPr>
            <a:r>
              <a:rPr lang="en-US" dirty="0">
                <a:cs typeface="Segoe UI"/>
              </a:rPr>
              <a:t>You can deploy (export/import) canvas apps and flows by using packages.</a:t>
            </a:r>
            <a:endParaRPr lang="en-US" dirty="0"/>
          </a:p>
          <a:p>
            <a:pPr marL="310515" indent="-310515">
              <a:spcBef>
                <a:spcPts val="600"/>
              </a:spcBef>
              <a:spcAft>
                <a:spcPts val="600"/>
              </a:spcAft>
            </a:pPr>
            <a:r>
              <a:rPr lang="en-US" dirty="0">
                <a:cs typeface="Segoe UI"/>
              </a:rPr>
              <a:t>This feature allows you to export an app from one environment and import it to another.</a:t>
            </a:r>
            <a:endParaRPr lang="en-US" dirty="0"/>
          </a:p>
          <a:p>
            <a:pPr marL="310515" indent="-310515">
              <a:spcBef>
                <a:spcPts val="600"/>
              </a:spcBef>
              <a:spcAft>
                <a:spcPts val="600"/>
              </a:spcAft>
            </a:pPr>
            <a:r>
              <a:rPr lang="en-US" dirty="0">
                <a:cs typeface="Segoe UI"/>
              </a:rPr>
              <a:t>Only the </a:t>
            </a:r>
            <a:r>
              <a:rPr lang="en-US" b="1" dirty="0">
                <a:cs typeface="Segoe UI"/>
              </a:rPr>
              <a:t>Owners</a:t>
            </a:r>
            <a:r>
              <a:rPr lang="en-US" dirty="0">
                <a:cs typeface="Segoe UI"/>
              </a:rPr>
              <a:t> of an app or flow can export a package. </a:t>
            </a:r>
            <a:endParaRPr lang="en-US" dirty="0"/>
          </a:p>
          <a:p>
            <a:pPr marL="310515" indent="-310515">
              <a:spcBef>
                <a:spcPts val="600"/>
              </a:spcBef>
              <a:spcAft>
                <a:spcPts val="600"/>
              </a:spcAft>
            </a:pPr>
            <a:r>
              <a:rPr lang="en-US" dirty="0">
                <a:cs typeface="Segoe UI"/>
              </a:rPr>
              <a:t>To import an app or flow, the </a:t>
            </a:r>
            <a:r>
              <a:rPr lang="en-US" b="1" dirty="0">
                <a:cs typeface="Segoe UI"/>
              </a:rPr>
              <a:t>Environment Maker </a:t>
            </a:r>
            <a:r>
              <a:rPr lang="en-US" dirty="0">
                <a:cs typeface="Segoe UI"/>
              </a:rPr>
              <a:t>permission is required on the destination environment.</a:t>
            </a:r>
            <a:endParaRPr lang="en-US" dirty="0"/>
          </a:p>
        </p:txBody>
      </p:sp>
      <p:pic>
        <p:nvPicPr>
          <p:cNvPr id="5" name="Picture 4">
            <a:extLst>
              <a:ext uri="{FF2B5EF4-FFF2-40B4-BE49-F238E27FC236}">
                <a16:creationId xmlns:a16="http://schemas.microsoft.com/office/drawing/2014/main" id="{7C2DF4DF-9B39-4282-8320-3D37448DF3AE}"/>
              </a:ext>
            </a:extLst>
          </p:cNvPr>
          <p:cNvPicPr>
            <a:picLocks noChangeAspect="1"/>
          </p:cNvPicPr>
          <p:nvPr/>
        </p:nvPicPr>
        <p:blipFill>
          <a:blip r:embed="rId5"/>
          <a:stretch>
            <a:fillRect/>
          </a:stretch>
        </p:blipFill>
        <p:spPr>
          <a:xfrm>
            <a:off x="7421745" y="1263322"/>
            <a:ext cx="4695823" cy="2165678"/>
          </a:xfrm>
          <a:prstGeom prst="rect">
            <a:avLst/>
          </a:prstGeom>
        </p:spPr>
      </p:pic>
      <p:pic>
        <p:nvPicPr>
          <p:cNvPr id="8" name="Picture 7">
            <a:extLst>
              <a:ext uri="{FF2B5EF4-FFF2-40B4-BE49-F238E27FC236}">
                <a16:creationId xmlns:a16="http://schemas.microsoft.com/office/drawing/2014/main" id="{EDAE85AA-D46C-4AA1-985D-38EF39F3DB0E}"/>
              </a:ext>
            </a:extLst>
          </p:cNvPr>
          <p:cNvPicPr>
            <a:picLocks noChangeAspect="1"/>
          </p:cNvPicPr>
          <p:nvPr/>
        </p:nvPicPr>
        <p:blipFill>
          <a:blip r:embed="rId6"/>
          <a:stretch>
            <a:fillRect/>
          </a:stretch>
        </p:blipFill>
        <p:spPr>
          <a:xfrm>
            <a:off x="7565174" y="3802396"/>
            <a:ext cx="4408967" cy="2735564"/>
          </a:xfrm>
          <a:prstGeom prst="rect">
            <a:avLst/>
          </a:prstGeom>
        </p:spPr>
      </p:pic>
      <p:sp>
        <p:nvSpPr>
          <p:cNvPr id="4" name="Footer Placeholder 2">
            <a:extLst>
              <a:ext uri="{FF2B5EF4-FFF2-40B4-BE49-F238E27FC236}">
                <a16:creationId xmlns:a16="http://schemas.microsoft.com/office/drawing/2014/main" id="{BAD98ACB-2C12-EC24-74ED-76F4CF9FC8F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8621764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
                                            <p:txEl>
                                              <p:pRg st="1" end="1"/>
                                            </p:txEl>
                                          </p:spTgt>
                                        </p:tgtEl>
                                        <p:attrNameLst>
                                          <p:attrName>style.visibility</p:attrName>
                                        </p:attrNameLst>
                                      </p:cBhvr>
                                      <p:to>
                                        <p:strVal val="visible"/>
                                      </p:to>
                                    </p:set>
                                    <p:animEffect transition="in" filter="fade">
                                      <p:cBhvr>
                                        <p:cTn id="18" dur="500"/>
                                        <p:tgtEl>
                                          <p:spTgt spid="2">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animEffect transition="in" filter="fade">
                                      <p:cBhvr>
                                        <p:cTn id="23" dur="500"/>
                                        <p:tgtEl>
                                          <p:spTgt spid="2">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Which resources can be deployed using a package</a:t>
            </a:r>
          </a:p>
        </p:txBody>
      </p:sp>
      <p:graphicFrame>
        <p:nvGraphicFramePr>
          <p:cNvPr id="6" name="Table 8">
            <a:extLst>
              <a:ext uri="{FF2B5EF4-FFF2-40B4-BE49-F238E27FC236}">
                <a16:creationId xmlns:a16="http://schemas.microsoft.com/office/drawing/2014/main" id="{7FB36305-812B-472C-A721-CC9CAB99B852}"/>
              </a:ext>
            </a:extLst>
          </p:cNvPr>
          <p:cNvGraphicFramePr>
            <a:graphicFrameLocks noGrp="1"/>
          </p:cNvGraphicFramePr>
          <p:nvPr>
            <p:extLst>
              <p:ext uri="{D42A27DB-BD31-4B8C-83A1-F6EECF244321}">
                <p14:modId xmlns:p14="http://schemas.microsoft.com/office/powerpoint/2010/main" val="898414140"/>
              </p:ext>
            </p:extLst>
          </p:nvPr>
        </p:nvGraphicFramePr>
        <p:xfrm>
          <a:off x="655637" y="1244010"/>
          <a:ext cx="11284725" cy="5273556"/>
        </p:xfrm>
        <a:graphic>
          <a:graphicData uri="http://schemas.openxmlformats.org/drawingml/2006/table">
            <a:tbl>
              <a:tblPr firstRow="1" bandRow="1">
                <a:tableStyleId>{2D5ABB26-0587-4C30-8999-92F81FD0307C}</a:tableStyleId>
              </a:tblPr>
              <a:tblGrid>
                <a:gridCol w="1864279">
                  <a:extLst>
                    <a:ext uri="{9D8B030D-6E8A-4147-A177-3AD203B41FA5}">
                      <a16:colId xmlns:a16="http://schemas.microsoft.com/office/drawing/2014/main" val="2741206465"/>
                    </a:ext>
                  </a:extLst>
                </a:gridCol>
                <a:gridCol w="1382233">
                  <a:extLst>
                    <a:ext uri="{9D8B030D-6E8A-4147-A177-3AD203B41FA5}">
                      <a16:colId xmlns:a16="http://schemas.microsoft.com/office/drawing/2014/main" val="1672425134"/>
                    </a:ext>
                  </a:extLst>
                </a:gridCol>
                <a:gridCol w="8038213">
                  <a:extLst>
                    <a:ext uri="{9D8B030D-6E8A-4147-A177-3AD203B41FA5}">
                      <a16:colId xmlns:a16="http://schemas.microsoft.com/office/drawing/2014/main" val="3988449595"/>
                    </a:ext>
                  </a:extLst>
                </a:gridCol>
              </a:tblGrid>
              <a:tr h="525277">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l" fontAlgn="b"/>
                      <a:r>
                        <a:rPr lang="en-US" sz="1600" dirty="0">
                          <a:solidFill>
                            <a:schemeClr val="tx1"/>
                          </a:solidFill>
                          <a:effectLst/>
                        </a:rPr>
                        <a:t>Resource type</a:t>
                      </a:r>
                      <a:endParaRPr lang="en-US" sz="1600" dirty="0">
                        <a:solidFill>
                          <a:schemeClr val="tx1"/>
                        </a:solidFill>
                        <a:effectLst/>
                        <a:latin typeface="+mj-lt"/>
                      </a:endParaRPr>
                    </a:p>
                  </a:txBody>
                  <a:tcPr marL="5136" marR="5136" marT="3852" marB="3852"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fontAlgn="b"/>
                      <a:r>
                        <a:rPr lang="en-US" sz="1600" dirty="0">
                          <a:solidFill>
                            <a:schemeClr val="tx1"/>
                          </a:solidFill>
                          <a:effectLst/>
                        </a:rPr>
                        <a:t>Supported</a:t>
                      </a:r>
                      <a:endParaRPr lang="en-US" sz="1600" dirty="0">
                        <a:solidFill>
                          <a:schemeClr val="tx1"/>
                        </a:solidFill>
                        <a:effectLst/>
                        <a:latin typeface="+mj-lt"/>
                      </a:endParaRPr>
                    </a:p>
                  </a:txBody>
                  <a:tcPr marL="5136" marR="5136" marT="3852" marB="3852"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l" fontAlgn="b"/>
                      <a:r>
                        <a:rPr lang="en-US" sz="1600" dirty="0">
                          <a:solidFill>
                            <a:schemeClr val="tx1"/>
                          </a:solidFill>
                          <a:effectLst/>
                        </a:rPr>
                        <a:t>Import options</a:t>
                      </a:r>
                      <a:endParaRPr lang="en-US" sz="1600" dirty="0">
                        <a:solidFill>
                          <a:schemeClr val="tx1"/>
                        </a:solidFill>
                        <a:effectLst/>
                        <a:latin typeface="+mj-lt"/>
                      </a:endParaRPr>
                    </a:p>
                  </a:txBody>
                  <a:tcPr marL="5136" marR="5136" marT="3852" marB="3852"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2393535"/>
                  </a:ext>
                </a:extLst>
              </a:tr>
              <a:tr h="65762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b="1" dirty="0">
                          <a:effectLst/>
                        </a:rPr>
                        <a:t>App</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fontAlgn="t"/>
                      <a:r>
                        <a:rPr lang="en-US" sz="1600" b="1" u="none" dirty="0">
                          <a:effectLst/>
                        </a:rPr>
                        <a:t>Yes</a:t>
                      </a:r>
                    </a:p>
                    <a:p>
                      <a:pPr algn="ctr" fontAlgn="t"/>
                      <a:r>
                        <a:rPr lang="en-US" sz="1200" b="0" u="none" dirty="0">
                          <a:effectLst/>
                        </a:rPr>
                        <a:t>(canvas apps)</a:t>
                      </a:r>
                      <a:endParaRPr lang="en-US" sz="1600" b="0" u="none"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buFont typeface="+mj-lt"/>
                        <a:buNone/>
                      </a:pPr>
                      <a:r>
                        <a:rPr lang="en-US" sz="1600" dirty="0">
                          <a:effectLst/>
                        </a:rPr>
                        <a:t>There are two options to import an app into an environment: </a:t>
                      </a:r>
                      <a:r>
                        <a:rPr lang="en-US" sz="1600" b="1" dirty="0">
                          <a:effectLst/>
                        </a:rPr>
                        <a:t>Create new </a:t>
                      </a:r>
                      <a:r>
                        <a:rPr lang="en-US" sz="1600" b="0" dirty="0">
                          <a:effectLst/>
                        </a:rPr>
                        <a:t>and </a:t>
                      </a:r>
                      <a:r>
                        <a:rPr lang="en-US" sz="1600" b="1" dirty="0">
                          <a:effectLst/>
                        </a:rPr>
                        <a:t>Update </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7304315"/>
                  </a:ext>
                </a:extLst>
              </a:tr>
              <a:tr h="125066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b="1" dirty="0">
                          <a:effectLst/>
                        </a:rPr>
                        <a:t>Power Automate</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fontAlgn="t"/>
                      <a:r>
                        <a:rPr lang="en-US" sz="1600" b="1" u="none" dirty="0">
                          <a:effectLst/>
                        </a:rPr>
                        <a:t>Yes</a:t>
                      </a:r>
                      <a:endParaRPr lang="en-US" sz="1600" b="1" u="none"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buFont typeface="+mj-lt"/>
                        <a:buNone/>
                      </a:pPr>
                      <a:r>
                        <a:rPr lang="en-US" sz="1600" dirty="0">
                          <a:effectLst/>
                        </a:rPr>
                        <a:t>There are two options to import a flow into an environment: </a:t>
                      </a:r>
                      <a:r>
                        <a:rPr lang="en-US" sz="1600" b="1" dirty="0">
                          <a:effectLst/>
                        </a:rPr>
                        <a:t>Create new </a:t>
                      </a:r>
                      <a:r>
                        <a:rPr lang="en-US" sz="1600" b="0" dirty="0">
                          <a:effectLst/>
                        </a:rPr>
                        <a:t>and </a:t>
                      </a:r>
                      <a:r>
                        <a:rPr lang="en-US" sz="1600" b="1" dirty="0">
                          <a:effectLst/>
                        </a:rPr>
                        <a:t>Update</a:t>
                      </a:r>
                      <a:endParaRPr lang="en-US" sz="1600" dirty="0">
                        <a:effectLst/>
                      </a:endParaRPr>
                    </a:p>
                    <a:p>
                      <a:pPr algn="l" fontAlgn="t">
                        <a:buFont typeface="+mj-lt"/>
                        <a:buNone/>
                      </a:pPr>
                      <a:endParaRPr lang="en-US" sz="1600" b="1" dirty="0">
                        <a:effectLst/>
                      </a:endParaRPr>
                    </a:p>
                    <a:p>
                      <a:pPr algn="l" fontAlgn="t">
                        <a:buFont typeface="+mj-lt"/>
                        <a:buNone/>
                      </a:pPr>
                      <a:r>
                        <a:rPr lang="en-US" sz="1600" b="1" dirty="0">
                          <a:effectLst/>
                        </a:rPr>
                        <a:t>Note:</a:t>
                      </a:r>
                      <a:r>
                        <a:rPr lang="en-US" sz="1600" dirty="0">
                          <a:effectLst/>
                        </a:rPr>
                        <a:t> All resources that the flow depends on will also be included within the app package that is exported and will need to be configured when the package is imported.</a:t>
                      </a:r>
                      <a:endParaRPr lang="en-US" sz="1600"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6311568"/>
                  </a:ext>
                </a:extLst>
              </a:tr>
              <a:tr h="6961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b="1" dirty="0">
                          <a:effectLst/>
                        </a:rPr>
                        <a:t>Custom Connectors</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fontAlgn="t"/>
                      <a:r>
                        <a:rPr lang="en-US" sz="1600" u="none" dirty="0">
                          <a:effectLst/>
                        </a:rPr>
                        <a:t>No</a:t>
                      </a:r>
                      <a:endParaRPr lang="en-US" sz="1600" u="none"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dirty="0">
                          <a:effectLst/>
                        </a:rPr>
                        <a:t>Not supported. You'll need to re-create the custom connector on the target environment.</a:t>
                      </a:r>
                      <a:endParaRPr lang="en-US" sz="1600"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8489523"/>
                  </a:ext>
                </a:extLst>
              </a:tr>
              <a:tr h="60409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b="1" dirty="0">
                          <a:effectLst/>
                        </a:rPr>
                        <a:t>Connections</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fontAlgn="t"/>
                      <a:r>
                        <a:rPr lang="en-US" sz="1600" u="none" dirty="0">
                          <a:effectLst/>
                        </a:rPr>
                        <a:t>No</a:t>
                      </a:r>
                      <a:endParaRPr lang="en-US" sz="1600" u="none"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dirty="0">
                          <a:effectLst/>
                        </a:rPr>
                        <a:t>Not supported. You'll need to re-create the connections on the target environment.</a:t>
                      </a:r>
                      <a:endParaRPr lang="en-US" sz="1600" kern="1200" dirty="0">
                        <a:solidFill>
                          <a:schemeClr val="dk1"/>
                        </a:solidFill>
                        <a:effectLst/>
                        <a:latin typeface="Segoe UI"/>
                        <a:ea typeface="+mn-ea"/>
                        <a:cs typeface="+mn-cs"/>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669222"/>
                  </a:ext>
                </a:extLst>
              </a:tr>
              <a:tr h="8539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b="1" dirty="0">
                          <a:effectLst/>
                        </a:rPr>
                        <a:t>Dataverse Customizations</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fontAlgn="t"/>
                      <a:r>
                        <a:rPr lang="en-US" sz="1600" u="none" dirty="0">
                          <a:effectLst/>
                        </a:rPr>
                        <a:t>No</a:t>
                      </a:r>
                      <a:endParaRPr lang="en-US" sz="1600" u="none"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dirty="0">
                          <a:effectLst/>
                        </a:rPr>
                        <a:t>Exporting Dataverse customizations as a part of a canvas app / flow package isn't supported. You'll need to use Dataverse solutions instead.</a:t>
                      </a:r>
                      <a:endParaRPr lang="en-US" sz="1600" dirty="0">
                        <a:effectLst/>
                        <a:latin typeface="+mj-lt"/>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61884585"/>
                  </a:ext>
                </a:extLst>
              </a:tr>
              <a:tr h="68584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b="1" dirty="0">
                          <a:effectLst/>
                        </a:rPr>
                        <a:t>Gateways</a:t>
                      </a:r>
                      <a:endParaRPr lang="en-US" sz="1600" b="1" dirty="0">
                        <a:effectLst/>
                        <a:latin typeface="+mj-lt"/>
                      </a:endParaRPr>
                    </a:p>
                  </a:txBody>
                  <a:tcPr marL="45720" marR="45720">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ctr" fontAlgn="t"/>
                      <a:r>
                        <a:rPr lang="en-US" sz="1600" u="none" dirty="0">
                          <a:effectLst/>
                        </a:rPr>
                        <a:t>No</a:t>
                      </a:r>
                      <a:endParaRPr lang="en-US" sz="1600" u="none" dirty="0">
                        <a:effectLst/>
                        <a:latin typeface="+mj-lt"/>
                      </a:endParaRPr>
                    </a:p>
                  </a:txBody>
                  <a:tcPr marL="45720" marR="45720">
                    <a:lnT w="12700" cap="flat" cmpd="sng" algn="ctr">
                      <a:solidFill>
                        <a:schemeClr val="tx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en-US" sz="1600" dirty="0">
                          <a:effectLst/>
                        </a:rPr>
                        <a:t>Not supported. You'll need to re-create the on-premise gateway on the target environment.</a:t>
                      </a:r>
                      <a:endParaRPr lang="en-US" sz="1600" kern="1200" dirty="0">
                        <a:solidFill>
                          <a:schemeClr val="dk1"/>
                        </a:solidFill>
                        <a:effectLst/>
                        <a:latin typeface="Segoe UI"/>
                        <a:ea typeface="+mn-ea"/>
                        <a:cs typeface="+mn-cs"/>
                      </a:endParaRPr>
                    </a:p>
                  </a:txBody>
                  <a:tcPr marL="45720" marR="4572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9242338"/>
                  </a:ext>
                </a:extLst>
              </a:tr>
            </a:tbl>
          </a:graphicData>
        </a:graphic>
      </p:graphicFrame>
      <p:sp>
        <p:nvSpPr>
          <p:cNvPr id="2" name="Footer Placeholder 2">
            <a:extLst>
              <a:ext uri="{FF2B5EF4-FFF2-40B4-BE49-F238E27FC236}">
                <a16:creationId xmlns:a16="http://schemas.microsoft.com/office/drawing/2014/main" id="{D4DBE0F2-ACD5-EA15-2065-9FA269771C6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008401404"/>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Ex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467057" y="1671343"/>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829850" y="1776832"/>
            <a:ext cx="4362149"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a:t>
              </a:r>
              <a:r>
                <a:rPr lang="en-US" sz="2000" u="sng" spc="0" dirty="0">
                  <a:solidFill>
                    <a:srgbClr val="3C3C41"/>
                  </a:solidFill>
                  <a:latin typeface="Segoe UI Semibold"/>
                  <a:cs typeface="Segoe UI Light" panose="020B0502040204020203" pitchFamily="34" charset="0"/>
                </a:rPr>
                <a:t>Export package</a:t>
              </a:r>
              <a:r>
                <a:rPr lang="en-US" sz="2000" spc="0" dirty="0">
                  <a:solidFill>
                    <a:srgbClr val="3C3C41"/>
                  </a:solidFill>
                  <a:latin typeface="Segoe UI Semibold"/>
                  <a:cs typeface="Segoe UI Light" panose="020B0502040204020203" pitchFamily="34" charset="0"/>
                </a:rPr>
                <a:t> for an App you want to export</a:t>
              </a: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28" name="Picture 27">
            <a:extLst>
              <a:ext uri="{FF2B5EF4-FFF2-40B4-BE49-F238E27FC236}">
                <a16:creationId xmlns:a16="http://schemas.microsoft.com/office/drawing/2014/main" id="{0973F899-CA8D-4117-A5EA-7B6A39C58494}"/>
              </a:ext>
            </a:extLst>
          </p:cNvPr>
          <p:cNvPicPr>
            <a:picLocks noChangeAspect="1"/>
          </p:cNvPicPr>
          <p:nvPr/>
        </p:nvPicPr>
        <p:blipFill>
          <a:blip r:embed="rId6"/>
          <a:stretch>
            <a:fillRect/>
          </a:stretch>
        </p:blipFill>
        <p:spPr>
          <a:xfrm>
            <a:off x="664235" y="1955825"/>
            <a:ext cx="5922776" cy="3390941"/>
          </a:xfrm>
          <a:prstGeom prst="rect">
            <a:avLst/>
          </a:prstGeom>
        </p:spPr>
      </p:pic>
      <p:sp>
        <p:nvSpPr>
          <p:cNvPr id="3" name="Footer Placeholder 2">
            <a:extLst>
              <a:ext uri="{FF2B5EF4-FFF2-40B4-BE49-F238E27FC236}">
                <a16:creationId xmlns:a16="http://schemas.microsoft.com/office/drawing/2014/main" id="{CB737E15-5E44-F5E2-ED9D-CBE04CE023B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157676589"/>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Ex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467057" y="1671343"/>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829850" y="1776832"/>
            <a:ext cx="4362149"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a:t>
              </a:r>
              <a:r>
                <a:rPr lang="en-US" sz="2000" u="sng" spc="0" dirty="0">
                  <a:solidFill>
                    <a:srgbClr val="3C3C41"/>
                  </a:solidFill>
                  <a:latin typeface="Segoe UI Semibold"/>
                  <a:cs typeface="Segoe UI Light" panose="020B0502040204020203" pitchFamily="34" charset="0"/>
                </a:rPr>
                <a:t>Export package</a:t>
              </a:r>
              <a:r>
                <a:rPr lang="en-US" sz="2000" spc="0" dirty="0">
                  <a:solidFill>
                    <a:srgbClr val="3C3C41"/>
                  </a:solidFill>
                  <a:latin typeface="Segoe UI Semibold"/>
                  <a:cs typeface="Segoe UI Light" panose="020B0502040204020203" pitchFamily="34" charset="0"/>
                </a:rPr>
                <a:t> for an App you want to export</a:t>
              </a: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28" name="Picture 27">
            <a:extLst>
              <a:ext uri="{FF2B5EF4-FFF2-40B4-BE49-F238E27FC236}">
                <a16:creationId xmlns:a16="http://schemas.microsoft.com/office/drawing/2014/main" id="{0973F899-CA8D-4117-A5EA-7B6A39C58494}"/>
              </a:ext>
            </a:extLst>
          </p:cNvPr>
          <p:cNvPicPr>
            <a:picLocks noChangeAspect="1"/>
          </p:cNvPicPr>
          <p:nvPr/>
        </p:nvPicPr>
        <p:blipFill>
          <a:blip r:embed="rId6"/>
          <a:stretch>
            <a:fillRect/>
          </a:stretch>
        </p:blipFill>
        <p:spPr>
          <a:xfrm>
            <a:off x="664235" y="1955825"/>
            <a:ext cx="5922776" cy="3390941"/>
          </a:xfrm>
          <a:prstGeom prst="rect">
            <a:avLst/>
          </a:prstGeom>
        </p:spPr>
      </p:pic>
      <p:grpSp>
        <p:nvGrpSpPr>
          <p:cNvPr id="14" name="Group 13">
            <a:extLst>
              <a:ext uri="{FF2B5EF4-FFF2-40B4-BE49-F238E27FC236}">
                <a16:creationId xmlns:a16="http://schemas.microsoft.com/office/drawing/2014/main" id="{715009B9-F20A-43A1-8E81-F3973D784939}"/>
              </a:ext>
            </a:extLst>
          </p:cNvPr>
          <p:cNvGrpSpPr/>
          <p:nvPr/>
        </p:nvGrpSpPr>
        <p:grpSpPr>
          <a:xfrm>
            <a:off x="733262" y="2035137"/>
            <a:ext cx="6370749" cy="3956577"/>
            <a:chOff x="732501" y="2059459"/>
            <a:chExt cx="6371653" cy="3957139"/>
          </a:xfrm>
        </p:grpSpPr>
        <p:pic>
          <p:nvPicPr>
            <p:cNvPr id="20" name="Picture 29" descr="A close up of a screen&#10;&#10;Description automatically generated">
              <a:extLst>
                <a:ext uri="{FF2B5EF4-FFF2-40B4-BE49-F238E27FC236}">
                  <a16:creationId xmlns:a16="http://schemas.microsoft.com/office/drawing/2014/main" id="{F8D75FFE-3E17-4084-8517-0E1B7ACD1C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sp>
          <p:nvSpPr>
            <p:cNvPr id="22" name="Freeform: Shape 21">
              <a:extLst>
                <a:ext uri="{FF2B5EF4-FFF2-40B4-BE49-F238E27FC236}">
                  <a16:creationId xmlns:a16="http://schemas.microsoft.com/office/drawing/2014/main" id="{DD324AAB-506C-49CC-B76D-90EEA78EC94F}"/>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986256A6-BC67-4D48-9FD6-19D46B73975F}"/>
              </a:ext>
            </a:extLst>
          </p:cNvPr>
          <p:cNvGrpSpPr/>
          <p:nvPr/>
        </p:nvGrpSpPr>
        <p:grpSpPr>
          <a:xfrm>
            <a:off x="7829850" y="2849969"/>
            <a:ext cx="4206205" cy="744037"/>
            <a:chOff x="7363372" y="1776598"/>
            <a:chExt cx="3904703" cy="744142"/>
          </a:xfrm>
        </p:grpSpPr>
        <p:sp>
          <p:nvSpPr>
            <p:cNvPr id="27" name="Text Placeholder 6">
              <a:extLst>
                <a:ext uri="{FF2B5EF4-FFF2-40B4-BE49-F238E27FC236}">
                  <a16:creationId xmlns:a16="http://schemas.microsoft.com/office/drawing/2014/main" id="{E84D81DF-B523-451B-846C-EDC559C8E170}"/>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Define Name, Description and import setup action (create as new / update) for all resources and click Export</a:t>
              </a:r>
            </a:p>
          </p:txBody>
        </p:sp>
        <p:grpSp>
          <p:nvGrpSpPr>
            <p:cNvPr id="29" name="Group 28">
              <a:extLst>
                <a:ext uri="{FF2B5EF4-FFF2-40B4-BE49-F238E27FC236}">
                  <a16:creationId xmlns:a16="http://schemas.microsoft.com/office/drawing/2014/main" id="{62CB1845-FDA8-42FA-B014-BC577CBF8E6B}"/>
                </a:ext>
              </a:extLst>
            </p:cNvPr>
            <p:cNvGrpSpPr/>
            <p:nvPr/>
          </p:nvGrpSpPr>
          <p:grpSpPr>
            <a:xfrm>
              <a:off x="7363372" y="1776598"/>
              <a:ext cx="623770" cy="623770"/>
              <a:chOff x="7363372" y="1776598"/>
              <a:chExt cx="623770" cy="623770"/>
            </a:xfrm>
          </p:grpSpPr>
          <p:sp>
            <p:nvSpPr>
              <p:cNvPr id="30" name="Diamond 29">
                <a:extLst>
                  <a:ext uri="{FF2B5EF4-FFF2-40B4-BE49-F238E27FC236}">
                    <a16:creationId xmlns:a16="http://schemas.microsoft.com/office/drawing/2014/main" id="{7957F964-2756-42B4-B47E-E9F154E3CB6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31" name="Diamond 30">
                <a:extLst>
                  <a:ext uri="{FF2B5EF4-FFF2-40B4-BE49-F238E27FC236}">
                    <a16:creationId xmlns:a16="http://schemas.microsoft.com/office/drawing/2014/main" id="{39BA3833-5515-4B75-9241-5679693914D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A03279E-2D1A-4745-9BA3-E34BEA31888E}"/>
              </a:ext>
            </a:extLst>
          </p:cNvPr>
          <p:cNvPicPr>
            <a:picLocks noChangeAspect="1"/>
          </p:cNvPicPr>
          <p:nvPr/>
        </p:nvPicPr>
        <p:blipFill>
          <a:blip r:embed="rId7"/>
          <a:stretch>
            <a:fillRect/>
          </a:stretch>
        </p:blipFill>
        <p:spPr>
          <a:xfrm>
            <a:off x="916348" y="2315572"/>
            <a:ext cx="5990485" cy="3391659"/>
          </a:xfrm>
          <a:prstGeom prst="rect">
            <a:avLst/>
          </a:prstGeom>
        </p:spPr>
      </p:pic>
      <p:sp>
        <p:nvSpPr>
          <p:cNvPr id="3" name="Footer Placeholder 2">
            <a:extLst>
              <a:ext uri="{FF2B5EF4-FFF2-40B4-BE49-F238E27FC236}">
                <a16:creationId xmlns:a16="http://schemas.microsoft.com/office/drawing/2014/main" id="{44615E93-226F-8D5D-B8A8-101379F4035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491467484"/>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Ex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467057" y="1671343"/>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829850" y="1776832"/>
            <a:ext cx="4362149"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a:t>
              </a:r>
              <a:r>
                <a:rPr lang="en-US" sz="2000" u="sng" spc="0" dirty="0">
                  <a:solidFill>
                    <a:srgbClr val="3C3C41"/>
                  </a:solidFill>
                  <a:latin typeface="Segoe UI Semibold"/>
                  <a:cs typeface="Segoe UI Light" panose="020B0502040204020203" pitchFamily="34" charset="0"/>
                </a:rPr>
                <a:t>Export package</a:t>
              </a:r>
              <a:r>
                <a:rPr lang="en-US" sz="2000" spc="0" dirty="0">
                  <a:solidFill>
                    <a:srgbClr val="3C3C41"/>
                  </a:solidFill>
                  <a:latin typeface="Segoe UI Semibold"/>
                  <a:cs typeface="Segoe UI Light" panose="020B0502040204020203" pitchFamily="34" charset="0"/>
                </a:rPr>
                <a:t> for an App you want to export</a:t>
              </a: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28" name="Picture 27">
            <a:extLst>
              <a:ext uri="{FF2B5EF4-FFF2-40B4-BE49-F238E27FC236}">
                <a16:creationId xmlns:a16="http://schemas.microsoft.com/office/drawing/2014/main" id="{0973F899-CA8D-4117-A5EA-7B6A39C58494}"/>
              </a:ext>
            </a:extLst>
          </p:cNvPr>
          <p:cNvPicPr>
            <a:picLocks noChangeAspect="1"/>
          </p:cNvPicPr>
          <p:nvPr/>
        </p:nvPicPr>
        <p:blipFill>
          <a:blip r:embed="rId6"/>
          <a:stretch>
            <a:fillRect/>
          </a:stretch>
        </p:blipFill>
        <p:spPr>
          <a:xfrm>
            <a:off x="664235" y="1955825"/>
            <a:ext cx="5922776" cy="3390941"/>
          </a:xfrm>
          <a:prstGeom prst="rect">
            <a:avLst/>
          </a:prstGeom>
        </p:spPr>
      </p:pic>
      <p:grpSp>
        <p:nvGrpSpPr>
          <p:cNvPr id="14" name="Group 13">
            <a:extLst>
              <a:ext uri="{FF2B5EF4-FFF2-40B4-BE49-F238E27FC236}">
                <a16:creationId xmlns:a16="http://schemas.microsoft.com/office/drawing/2014/main" id="{715009B9-F20A-43A1-8E81-F3973D784939}"/>
              </a:ext>
            </a:extLst>
          </p:cNvPr>
          <p:cNvGrpSpPr/>
          <p:nvPr/>
        </p:nvGrpSpPr>
        <p:grpSpPr>
          <a:xfrm>
            <a:off x="733262" y="2035137"/>
            <a:ext cx="6370749" cy="3956577"/>
            <a:chOff x="732501" y="2059459"/>
            <a:chExt cx="6371653" cy="3957139"/>
          </a:xfrm>
        </p:grpSpPr>
        <p:pic>
          <p:nvPicPr>
            <p:cNvPr id="20" name="Picture 29" descr="A close up of a screen&#10;&#10;Description automatically generated">
              <a:extLst>
                <a:ext uri="{FF2B5EF4-FFF2-40B4-BE49-F238E27FC236}">
                  <a16:creationId xmlns:a16="http://schemas.microsoft.com/office/drawing/2014/main" id="{F8D75FFE-3E17-4084-8517-0E1B7ACD1C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sp>
          <p:nvSpPr>
            <p:cNvPr id="22" name="Freeform: Shape 21">
              <a:extLst>
                <a:ext uri="{FF2B5EF4-FFF2-40B4-BE49-F238E27FC236}">
                  <a16:creationId xmlns:a16="http://schemas.microsoft.com/office/drawing/2014/main" id="{DD324AAB-506C-49CC-B76D-90EEA78EC94F}"/>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986256A6-BC67-4D48-9FD6-19D46B73975F}"/>
              </a:ext>
            </a:extLst>
          </p:cNvPr>
          <p:cNvGrpSpPr/>
          <p:nvPr/>
        </p:nvGrpSpPr>
        <p:grpSpPr>
          <a:xfrm>
            <a:off x="7829850" y="2849969"/>
            <a:ext cx="4206205" cy="744037"/>
            <a:chOff x="7363372" y="1776598"/>
            <a:chExt cx="3904703" cy="744142"/>
          </a:xfrm>
        </p:grpSpPr>
        <p:sp>
          <p:nvSpPr>
            <p:cNvPr id="27" name="Text Placeholder 6">
              <a:extLst>
                <a:ext uri="{FF2B5EF4-FFF2-40B4-BE49-F238E27FC236}">
                  <a16:creationId xmlns:a16="http://schemas.microsoft.com/office/drawing/2014/main" id="{E84D81DF-B523-451B-846C-EDC559C8E170}"/>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Define Name, Description and import setup action (create as new / update) for all resources and click Export</a:t>
              </a:r>
            </a:p>
          </p:txBody>
        </p:sp>
        <p:grpSp>
          <p:nvGrpSpPr>
            <p:cNvPr id="29" name="Group 28">
              <a:extLst>
                <a:ext uri="{FF2B5EF4-FFF2-40B4-BE49-F238E27FC236}">
                  <a16:creationId xmlns:a16="http://schemas.microsoft.com/office/drawing/2014/main" id="{62CB1845-FDA8-42FA-B014-BC577CBF8E6B}"/>
                </a:ext>
              </a:extLst>
            </p:cNvPr>
            <p:cNvGrpSpPr/>
            <p:nvPr/>
          </p:nvGrpSpPr>
          <p:grpSpPr>
            <a:xfrm>
              <a:off x="7363372" y="1776598"/>
              <a:ext cx="623770" cy="623770"/>
              <a:chOff x="7363372" y="1776598"/>
              <a:chExt cx="623770" cy="623770"/>
            </a:xfrm>
          </p:grpSpPr>
          <p:sp>
            <p:nvSpPr>
              <p:cNvPr id="30" name="Diamond 29">
                <a:extLst>
                  <a:ext uri="{FF2B5EF4-FFF2-40B4-BE49-F238E27FC236}">
                    <a16:creationId xmlns:a16="http://schemas.microsoft.com/office/drawing/2014/main" id="{7957F964-2756-42B4-B47E-E9F154E3CB6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31" name="Diamond 30">
                <a:extLst>
                  <a:ext uri="{FF2B5EF4-FFF2-40B4-BE49-F238E27FC236}">
                    <a16:creationId xmlns:a16="http://schemas.microsoft.com/office/drawing/2014/main" id="{39BA3833-5515-4B75-9241-5679693914D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A03279E-2D1A-4745-9BA3-E34BEA31888E}"/>
              </a:ext>
            </a:extLst>
          </p:cNvPr>
          <p:cNvPicPr>
            <a:picLocks noChangeAspect="1"/>
          </p:cNvPicPr>
          <p:nvPr/>
        </p:nvPicPr>
        <p:blipFill>
          <a:blip r:embed="rId7"/>
          <a:stretch>
            <a:fillRect/>
          </a:stretch>
        </p:blipFill>
        <p:spPr>
          <a:xfrm>
            <a:off x="916348" y="2315572"/>
            <a:ext cx="5990485" cy="3391659"/>
          </a:xfrm>
          <a:prstGeom prst="rect">
            <a:avLst/>
          </a:prstGeom>
        </p:spPr>
      </p:pic>
      <p:grpSp>
        <p:nvGrpSpPr>
          <p:cNvPr id="23" name="Group 22">
            <a:extLst>
              <a:ext uri="{FF2B5EF4-FFF2-40B4-BE49-F238E27FC236}">
                <a16:creationId xmlns:a16="http://schemas.microsoft.com/office/drawing/2014/main" id="{49BB6552-08F9-4DB7-8068-57DB8F98D4B4}"/>
              </a:ext>
            </a:extLst>
          </p:cNvPr>
          <p:cNvGrpSpPr/>
          <p:nvPr/>
        </p:nvGrpSpPr>
        <p:grpSpPr>
          <a:xfrm>
            <a:off x="7829851" y="4404971"/>
            <a:ext cx="3904150" cy="744037"/>
            <a:chOff x="7363372" y="1776598"/>
            <a:chExt cx="3904703" cy="744142"/>
          </a:xfrm>
        </p:grpSpPr>
        <p:sp>
          <p:nvSpPr>
            <p:cNvPr id="24" name="Text Placeholder 6">
              <a:extLst>
                <a:ext uri="{FF2B5EF4-FFF2-40B4-BE49-F238E27FC236}">
                  <a16:creationId xmlns:a16="http://schemas.microsoft.com/office/drawing/2014/main" id="{79475ECA-8801-49F7-930D-0DC517F2EC01}"/>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Package is downloaded a ZIP file</a:t>
              </a:r>
            </a:p>
          </p:txBody>
        </p:sp>
        <p:grpSp>
          <p:nvGrpSpPr>
            <p:cNvPr id="25" name="Group 24">
              <a:extLst>
                <a:ext uri="{FF2B5EF4-FFF2-40B4-BE49-F238E27FC236}">
                  <a16:creationId xmlns:a16="http://schemas.microsoft.com/office/drawing/2014/main" id="{C881A738-82FB-451D-8A94-3223CA964C9F}"/>
                </a:ext>
              </a:extLst>
            </p:cNvPr>
            <p:cNvGrpSpPr/>
            <p:nvPr/>
          </p:nvGrpSpPr>
          <p:grpSpPr>
            <a:xfrm>
              <a:off x="7363372" y="1776598"/>
              <a:ext cx="623770" cy="623770"/>
              <a:chOff x="7363372" y="1776598"/>
              <a:chExt cx="623770" cy="623770"/>
            </a:xfrm>
          </p:grpSpPr>
          <p:sp>
            <p:nvSpPr>
              <p:cNvPr id="32" name="Diamond 31">
                <a:extLst>
                  <a:ext uri="{FF2B5EF4-FFF2-40B4-BE49-F238E27FC236}">
                    <a16:creationId xmlns:a16="http://schemas.microsoft.com/office/drawing/2014/main" id="{76A5B333-D19D-4F6D-BD5F-CCE73FDBBD82}"/>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3</a:t>
                </a:r>
              </a:p>
            </p:txBody>
          </p:sp>
          <p:sp>
            <p:nvSpPr>
              <p:cNvPr id="33" name="Diamond 32">
                <a:extLst>
                  <a:ext uri="{FF2B5EF4-FFF2-40B4-BE49-F238E27FC236}">
                    <a16:creationId xmlns:a16="http://schemas.microsoft.com/office/drawing/2014/main" id="{B1F18241-81A9-465F-9AE5-C40F8D7EE96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34" name="Group 33">
            <a:extLst>
              <a:ext uri="{FF2B5EF4-FFF2-40B4-BE49-F238E27FC236}">
                <a16:creationId xmlns:a16="http://schemas.microsoft.com/office/drawing/2014/main" id="{266975E3-0F72-47A5-BF3B-65C8E2E06870}"/>
              </a:ext>
            </a:extLst>
          </p:cNvPr>
          <p:cNvGrpSpPr/>
          <p:nvPr/>
        </p:nvGrpSpPr>
        <p:grpSpPr>
          <a:xfrm>
            <a:off x="1049870" y="2398929"/>
            <a:ext cx="6370749" cy="3956577"/>
            <a:chOff x="1065876" y="2392834"/>
            <a:chExt cx="6371653" cy="3957139"/>
          </a:xfrm>
        </p:grpSpPr>
        <p:pic>
          <p:nvPicPr>
            <p:cNvPr id="35" name="Picture 29" descr="A close up of a screen&#10;&#10;Description automatically generated">
              <a:extLst>
                <a:ext uri="{FF2B5EF4-FFF2-40B4-BE49-F238E27FC236}">
                  <a16:creationId xmlns:a16="http://schemas.microsoft.com/office/drawing/2014/main" id="{880C81D6-2CD2-4837-A6ED-F2711508792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38" name="Freeform: Shape 37">
              <a:extLst>
                <a:ext uri="{FF2B5EF4-FFF2-40B4-BE49-F238E27FC236}">
                  <a16:creationId xmlns:a16="http://schemas.microsoft.com/office/drawing/2014/main" id="{166F828B-4893-4FDB-B705-4BBE9C07A3D4}"/>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 name="Picture 4">
            <a:extLst>
              <a:ext uri="{FF2B5EF4-FFF2-40B4-BE49-F238E27FC236}">
                <a16:creationId xmlns:a16="http://schemas.microsoft.com/office/drawing/2014/main" id="{87AF687C-F6A9-4B37-9756-7BE0EA2740F4}"/>
              </a:ext>
            </a:extLst>
          </p:cNvPr>
          <p:cNvPicPr>
            <a:picLocks noChangeAspect="1"/>
          </p:cNvPicPr>
          <p:nvPr/>
        </p:nvPicPr>
        <p:blipFill>
          <a:blip r:embed="rId8"/>
          <a:stretch>
            <a:fillRect/>
          </a:stretch>
        </p:blipFill>
        <p:spPr>
          <a:xfrm>
            <a:off x="1232955" y="2674915"/>
            <a:ext cx="6014082" cy="3394270"/>
          </a:xfrm>
          <a:prstGeom prst="rect">
            <a:avLst/>
          </a:prstGeom>
        </p:spPr>
      </p:pic>
      <p:pic>
        <p:nvPicPr>
          <p:cNvPr id="12" name="Picture 11">
            <a:extLst>
              <a:ext uri="{FF2B5EF4-FFF2-40B4-BE49-F238E27FC236}">
                <a16:creationId xmlns:a16="http://schemas.microsoft.com/office/drawing/2014/main" id="{39142152-7D73-4DD8-B884-C8162701FC7D}"/>
              </a:ext>
            </a:extLst>
          </p:cNvPr>
          <p:cNvPicPr>
            <a:picLocks noChangeAspect="1"/>
          </p:cNvPicPr>
          <p:nvPr/>
        </p:nvPicPr>
        <p:blipFill>
          <a:blip r:embed="rId9"/>
          <a:stretch>
            <a:fillRect/>
          </a:stretch>
        </p:blipFill>
        <p:spPr>
          <a:xfrm>
            <a:off x="5039672" y="3397101"/>
            <a:ext cx="1934909" cy="840942"/>
          </a:xfrm>
          <a:prstGeom prst="rect">
            <a:avLst/>
          </a:prstGeom>
          <a:ln>
            <a:noFill/>
          </a:ln>
          <a:effectLst>
            <a:outerShdw blurRad="292100" dist="139700" dir="2700000" algn="tl" rotWithShape="0">
              <a:srgbClr val="333333">
                <a:alpha val="65000"/>
              </a:srgbClr>
            </a:outerShdw>
          </a:effectLst>
        </p:spPr>
      </p:pic>
      <p:sp>
        <p:nvSpPr>
          <p:cNvPr id="3" name="Footer Placeholder 2">
            <a:extLst>
              <a:ext uri="{FF2B5EF4-FFF2-40B4-BE49-F238E27FC236}">
                <a16:creationId xmlns:a16="http://schemas.microsoft.com/office/drawing/2014/main" id="{F1B46C5C-4A6C-61ED-0275-90AA5DC1EC5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83146142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Im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254406" y="1309829"/>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617199" y="1415318"/>
            <a:ext cx="4362149"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Choose </a:t>
              </a:r>
              <a:r>
                <a:rPr lang="en-US" sz="2000" u="sng" spc="0" dirty="0">
                  <a:solidFill>
                    <a:srgbClr val="3C3C41"/>
                  </a:solidFill>
                  <a:latin typeface="Segoe UI Semibold"/>
                  <a:cs typeface="Segoe UI Light" panose="020B0502040204020203" pitchFamily="34" charset="0"/>
                </a:rPr>
                <a:t>Import canvas app</a:t>
              </a:r>
              <a:r>
                <a:rPr lang="en-US" sz="2000" spc="0" dirty="0">
                  <a:solidFill>
                    <a:srgbClr val="3C3C41"/>
                  </a:solidFill>
                  <a:latin typeface="Segoe UI Semibold"/>
                  <a:cs typeface="Segoe UI Light" panose="020B0502040204020203" pitchFamily="34" charset="0"/>
                </a:rPr>
                <a:t> in make.powerapps.com or </a:t>
              </a:r>
              <a:r>
                <a:rPr lang="en-US" sz="2000" u="sng" spc="0" dirty="0">
                  <a:solidFill>
                    <a:srgbClr val="3C3C41"/>
                  </a:solidFill>
                  <a:latin typeface="Segoe UI Semibold"/>
                  <a:cs typeface="Segoe UI Light" panose="020B0502040204020203" pitchFamily="34" charset="0"/>
                </a:rPr>
                <a:t>Import</a:t>
              </a:r>
              <a:r>
                <a:rPr lang="en-US" sz="2000" spc="0" dirty="0">
                  <a:solidFill>
                    <a:srgbClr val="3C3C41"/>
                  </a:solidFill>
                  <a:latin typeface="Segoe UI Semibold"/>
                  <a:cs typeface="Segoe UI Light" panose="020B0502040204020203" pitchFamily="34" charset="0"/>
                </a:rPr>
                <a:t> in aka.ms/flow</a:t>
              </a:r>
              <a:endParaRPr lang="en-US" sz="2000" u="sng" spc="0" dirty="0">
                <a:solidFill>
                  <a:srgbClr val="3C3C41"/>
                </a:solidFill>
                <a:latin typeface="Segoe UI Semibold"/>
                <a:cs typeface="Segoe UI Light" panose="020B0502040204020203" pitchFamily="34" charset="0"/>
              </a:endParaRP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8FF0429-C9E7-44E0-82FD-1EC560FF4698}"/>
              </a:ext>
            </a:extLst>
          </p:cNvPr>
          <p:cNvPicPr>
            <a:picLocks noChangeAspect="1"/>
          </p:cNvPicPr>
          <p:nvPr/>
        </p:nvPicPr>
        <p:blipFill>
          <a:blip r:embed="rId6"/>
          <a:stretch>
            <a:fillRect/>
          </a:stretch>
        </p:blipFill>
        <p:spPr>
          <a:xfrm>
            <a:off x="442985" y="1590982"/>
            <a:ext cx="5909977" cy="3410456"/>
          </a:xfrm>
          <a:prstGeom prst="rect">
            <a:avLst/>
          </a:prstGeom>
        </p:spPr>
      </p:pic>
      <p:sp>
        <p:nvSpPr>
          <p:cNvPr id="3" name="Footer Placeholder 2">
            <a:extLst>
              <a:ext uri="{FF2B5EF4-FFF2-40B4-BE49-F238E27FC236}">
                <a16:creationId xmlns:a16="http://schemas.microsoft.com/office/drawing/2014/main" id="{9F16BC3D-E0FF-E57D-E8D0-46EADDACE66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371000817"/>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Im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318195" y="1309831"/>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680988" y="1415320"/>
            <a:ext cx="4362149"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Choose </a:t>
              </a:r>
              <a:r>
                <a:rPr lang="en-US" sz="2000" u="sng" spc="0" dirty="0">
                  <a:solidFill>
                    <a:srgbClr val="3C3C41"/>
                  </a:solidFill>
                  <a:latin typeface="Segoe UI Semibold"/>
                  <a:cs typeface="Segoe UI Light" panose="020B0502040204020203" pitchFamily="34" charset="0"/>
                </a:rPr>
                <a:t>Import canvas app</a:t>
              </a:r>
              <a:r>
                <a:rPr lang="en-US" sz="2000" spc="0" dirty="0">
                  <a:solidFill>
                    <a:srgbClr val="3C3C41"/>
                  </a:solidFill>
                  <a:latin typeface="Segoe UI Semibold"/>
                  <a:cs typeface="Segoe UI Light" panose="020B0502040204020203" pitchFamily="34" charset="0"/>
                </a:rPr>
                <a:t> in make.powerapps.com or </a:t>
              </a:r>
              <a:r>
                <a:rPr lang="en-US" sz="2000" u="sng" spc="0" dirty="0">
                  <a:solidFill>
                    <a:srgbClr val="3C3C41"/>
                  </a:solidFill>
                  <a:latin typeface="Segoe UI Semibold"/>
                  <a:cs typeface="Segoe UI Light" panose="020B0502040204020203" pitchFamily="34" charset="0"/>
                </a:rPr>
                <a:t>Import</a:t>
              </a:r>
              <a:r>
                <a:rPr lang="en-US" sz="2000" spc="0" dirty="0">
                  <a:solidFill>
                    <a:srgbClr val="3C3C41"/>
                  </a:solidFill>
                  <a:latin typeface="Segoe UI Semibold"/>
                  <a:cs typeface="Segoe UI Light" panose="020B0502040204020203" pitchFamily="34" charset="0"/>
                </a:rPr>
                <a:t> in aka.ms/flow</a:t>
              </a:r>
              <a:endParaRPr lang="en-US" sz="2000" u="sng" spc="0" dirty="0">
                <a:solidFill>
                  <a:srgbClr val="3C3C41"/>
                </a:solidFill>
                <a:latin typeface="Segoe UI Semibold"/>
                <a:cs typeface="Segoe UI Light" panose="020B0502040204020203" pitchFamily="34" charset="0"/>
              </a:endParaRP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8FF0429-C9E7-44E0-82FD-1EC560FF4698}"/>
              </a:ext>
            </a:extLst>
          </p:cNvPr>
          <p:cNvPicPr>
            <a:picLocks noChangeAspect="1"/>
          </p:cNvPicPr>
          <p:nvPr/>
        </p:nvPicPr>
        <p:blipFill>
          <a:blip r:embed="rId6"/>
          <a:stretch>
            <a:fillRect/>
          </a:stretch>
        </p:blipFill>
        <p:spPr>
          <a:xfrm>
            <a:off x="506774" y="1590984"/>
            <a:ext cx="5909977" cy="3410456"/>
          </a:xfrm>
          <a:prstGeom prst="rect">
            <a:avLst/>
          </a:prstGeom>
        </p:spPr>
      </p:pic>
      <p:grpSp>
        <p:nvGrpSpPr>
          <p:cNvPr id="14" name="Group 13">
            <a:extLst>
              <a:ext uri="{FF2B5EF4-FFF2-40B4-BE49-F238E27FC236}">
                <a16:creationId xmlns:a16="http://schemas.microsoft.com/office/drawing/2014/main" id="{246C21EA-5238-400E-9A91-F8A6403886FB}"/>
              </a:ext>
            </a:extLst>
          </p:cNvPr>
          <p:cNvGrpSpPr/>
          <p:nvPr/>
        </p:nvGrpSpPr>
        <p:grpSpPr>
          <a:xfrm>
            <a:off x="584400" y="1673625"/>
            <a:ext cx="6370749" cy="3956577"/>
            <a:chOff x="732501" y="2059459"/>
            <a:chExt cx="6371653" cy="3957139"/>
          </a:xfrm>
        </p:grpSpPr>
        <p:pic>
          <p:nvPicPr>
            <p:cNvPr id="20" name="Picture 29" descr="A close up of a screen&#10;&#10;Description automatically generated">
              <a:extLst>
                <a:ext uri="{FF2B5EF4-FFF2-40B4-BE49-F238E27FC236}">
                  <a16:creationId xmlns:a16="http://schemas.microsoft.com/office/drawing/2014/main" id="{8E8FCA9E-C2BA-454F-8B03-268F052D705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sp>
          <p:nvSpPr>
            <p:cNvPr id="21" name="Freeform: Shape 20">
              <a:extLst>
                <a:ext uri="{FF2B5EF4-FFF2-40B4-BE49-F238E27FC236}">
                  <a16:creationId xmlns:a16="http://schemas.microsoft.com/office/drawing/2014/main" id="{0AF0BC0E-277E-4492-A964-51E23429F704}"/>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DD4133AA-5845-418C-86A9-F49FF5034EAE}"/>
              </a:ext>
            </a:extLst>
          </p:cNvPr>
          <p:cNvGrpSpPr/>
          <p:nvPr/>
        </p:nvGrpSpPr>
        <p:grpSpPr>
          <a:xfrm>
            <a:off x="7680988" y="2488457"/>
            <a:ext cx="4206205" cy="744037"/>
            <a:chOff x="7363372" y="1776598"/>
            <a:chExt cx="3904703" cy="744142"/>
          </a:xfrm>
        </p:grpSpPr>
        <p:sp>
          <p:nvSpPr>
            <p:cNvPr id="23" name="Text Placeholder 6">
              <a:extLst>
                <a:ext uri="{FF2B5EF4-FFF2-40B4-BE49-F238E27FC236}">
                  <a16:creationId xmlns:a16="http://schemas.microsoft.com/office/drawing/2014/main" id="{B226BB98-F7CA-4922-BE8D-27CFC2495E70}"/>
                </a:ext>
              </a:extLst>
            </p:cNvPr>
            <p:cNvSpPr txBox="1">
              <a:spLocks/>
            </p:cNvSpPr>
            <p:nvPr/>
          </p:nvSpPr>
          <p:spPr>
            <a:xfrm>
              <a:off x="8103394" y="1896970"/>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exported package ZIP file</a:t>
              </a:r>
            </a:p>
          </p:txBody>
        </p:sp>
        <p:grpSp>
          <p:nvGrpSpPr>
            <p:cNvPr id="24" name="Group 23">
              <a:extLst>
                <a:ext uri="{FF2B5EF4-FFF2-40B4-BE49-F238E27FC236}">
                  <a16:creationId xmlns:a16="http://schemas.microsoft.com/office/drawing/2014/main" id="{8EF3BFC6-958A-45C9-A79E-443033542983}"/>
                </a:ext>
              </a:extLst>
            </p:cNvPr>
            <p:cNvGrpSpPr/>
            <p:nvPr/>
          </p:nvGrpSpPr>
          <p:grpSpPr>
            <a:xfrm>
              <a:off x="7363372" y="1776598"/>
              <a:ext cx="623770" cy="623770"/>
              <a:chOff x="7363372" y="1776598"/>
              <a:chExt cx="623770" cy="623770"/>
            </a:xfrm>
          </p:grpSpPr>
          <p:sp>
            <p:nvSpPr>
              <p:cNvPr id="25" name="Diamond 24">
                <a:extLst>
                  <a:ext uri="{FF2B5EF4-FFF2-40B4-BE49-F238E27FC236}">
                    <a16:creationId xmlns:a16="http://schemas.microsoft.com/office/drawing/2014/main" id="{8D3BEBE9-9992-46B3-B006-DC6E8827FEC8}"/>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26" name="Diamond 25">
                <a:extLst>
                  <a:ext uri="{FF2B5EF4-FFF2-40B4-BE49-F238E27FC236}">
                    <a16:creationId xmlns:a16="http://schemas.microsoft.com/office/drawing/2014/main" id="{024FC5F4-99A6-4D4D-B9E5-4ED2C4B8F8C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5" name="Picture 4">
            <a:extLst>
              <a:ext uri="{FF2B5EF4-FFF2-40B4-BE49-F238E27FC236}">
                <a16:creationId xmlns:a16="http://schemas.microsoft.com/office/drawing/2014/main" id="{87B2DF41-3C72-4D73-8F3A-337151464A54}"/>
              </a:ext>
            </a:extLst>
          </p:cNvPr>
          <p:cNvPicPr>
            <a:picLocks noChangeAspect="1"/>
          </p:cNvPicPr>
          <p:nvPr/>
        </p:nvPicPr>
        <p:blipFill>
          <a:blip r:embed="rId7"/>
          <a:stretch>
            <a:fillRect/>
          </a:stretch>
        </p:blipFill>
        <p:spPr>
          <a:xfrm>
            <a:off x="767485" y="1954778"/>
            <a:ext cx="5999084" cy="3372113"/>
          </a:xfrm>
          <a:prstGeom prst="rect">
            <a:avLst/>
          </a:prstGeom>
        </p:spPr>
      </p:pic>
      <p:sp>
        <p:nvSpPr>
          <p:cNvPr id="3" name="Footer Placeholder 2">
            <a:extLst>
              <a:ext uri="{FF2B5EF4-FFF2-40B4-BE49-F238E27FC236}">
                <a16:creationId xmlns:a16="http://schemas.microsoft.com/office/drawing/2014/main" id="{502D7B45-4448-8FD3-9EA7-EF4F85034EC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900331495"/>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Im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286301" y="1288571"/>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914915" y="1394060"/>
            <a:ext cx="3904151" cy="623682"/>
            <a:chOff x="7363372" y="1776598"/>
            <a:chExt cx="3624300"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2884278"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Choose </a:t>
              </a:r>
              <a:r>
                <a:rPr lang="en-US" sz="2000" u="sng" spc="0" dirty="0">
                  <a:solidFill>
                    <a:srgbClr val="3C3C41"/>
                  </a:solidFill>
                  <a:latin typeface="Segoe UI Semibold"/>
                  <a:cs typeface="Segoe UI Light" panose="020B0502040204020203" pitchFamily="34" charset="0"/>
                </a:rPr>
                <a:t>Import canvas app</a:t>
              </a:r>
              <a:r>
                <a:rPr lang="en-US" sz="2000" spc="0" dirty="0">
                  <a:solidFill>
                    <a:srgbClr val="3C3C41"/>
                  </a:solidFill>
                  <a:latin typeface="Segoe UI Semibold"/>
                  <a:cs typeface="Segoe UI Light" panose="020B0502040204020203" pitchFamily="34" charset="0"/>
                </a:rPr>
                <a:t> in make.powerapps.com or </a:t>
              </a:r>
              <a:r>
                <a:rPr lang="en-US" sz="2000" u="sng" spc="0" dirty="0">
                  <a:solidFill>
                    <a:srgbClr val="3C3C41"/>
                  </a:solidFill>
                  <a:latin typeface="Segoe UI Semibold"/>
                  <a:cs typeface="Segoe UI Light" panose="020B0502040204020203" pitchFamily="34" charset="0"/>
                </a:rPr>
                <a:t>Import</a:t>
              </a:r>
              <a:r>
                <a:rPr lang="en-US" sz="2000" spc="0" dirty="0">
                  <a:solidFill>
                    <a:srgbClr val="3C3C41"/>
                  </a:solidFill>
                  <a:latin typeface="Segoe UI Semibold"/>
                  <a:cs typeface="Segoe UI Light" panose="020B0502040204020203" pitchFamily="34" charset="0"/>
                </a:rPr>
                <a:t> in aka.ms/flow</a:t>
              </a:r>
              <a:endParaRPr lang="en-US" sz="2000" u="sng" spc="0" dirty="0">
                <a:solidFill>
                  <a:srgbClr val="3C3C41"/>
                </a:solidFill>
                <a:latin typeface="Segoe UI Semibold"/>
                <a:cs typeface="Segoe UI Light" panose="020B0502040204020203" pitchFamily="34" charset="0"/>
              </a:endParaRP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8FF0429-C9E7-44E0-82FD-1EC560FF4698}"/>
              </a:ext>
            </a:extLst>
          </p:cNvPr>
          <p:cNvPicPr>
            <a:picLocks noChangeAspect="1"/>
          </p:cNvPicPr>
          <p:nvPr/>
        </p:nvPicPr>
        <p:blipFill>
          <a:blip r:embed="rId6"/>
          <a:stretch>
            <a:fillRect/>
          </a:stretch>
        </p:blipFill>
        <p:spPr>
          <a:xfrm>
            <a:off x="474880" y="1569724"/>
            <a:ext cx="5909977" cy="3410456"/>
          </a:xfrm>
          <a:prstGeom prst="rect">
            <a:avLst/>
          </a:prstGeom>
        </p:spPr>
      </p:pic>
      <p:grpSp>
        <p:nvGrpSpPr>
          <p:cNvPr id="14" name="Group 13">
            <a:extLst>
              <a:ext uri="{FF2B5EF4-FFF2-40B4-BE49-F238E27FC236}">
                <a16:creationId xmlns:a16="http://schemas.microsoft.com/office/drawing/2014/main" id="{246C21EA-5238-400E-9A91-F8A6403886FB}"/>
              </a:ext>
            </a:extLst>
          </p:cNvPr>
          <p:cNvGrpSpPr/>
          <p:nvPr/>
        </p:nvGrpSpPr>
        <p:grpSpPr>
          <a:xfrm>
            <a:off x="552506" y="1652365"/>
            <a:ext cx="6370749" cy="3956577"/>
            <a:chOff x="732501" y="2059459"/>
            <a:chExt cx="6371653" cy="3957139"/>
          </a:xfrm>
        </p:grpSpPr>
        <p:pic>
          <p:nvPicPr>
            <p:cNvPr id="20" name="Picture 29" descr="A close up of a screen&#10;&#10;Description automatically generated">
              <a:extLst>
                <a:ext uri="{FF2B5EF4-FFF2-40B4-BE49-F238E27FC236}">
                  <a16:creationId xmlns:a16="http://schemas.microsoft.com/office/drawing/2014/main" id="{8E8FCA9E-C2BA-454F-8B03-268F052D705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sp>
          <p:nvSpPr>
            <p:cNvPr id="21" name="Freeform: Shape 20">
              <a:extLst>
                <a:ext uri="{FF2B5EF4-FFF2-40B4-BE49-F238E27FC236}">
                  <a16:creationId xmlns:a16="http://schemas.microsoft.com/office/drawing/2014/main" id="{0AF0BC0E-277E-4492-A964-51E23429F704}"/>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DD4133AA-5845-418C-86A9-F49FF5034EAE}"/>
              </a:ext>
            </a:extLst>
          </p:cNvPr>
          <p:cNvGrpSpPr/>
          <p:nvPr/>
        </p:nvGrpSpPr>
        <p:grpSpPr>
          <a:xfrm>
            <a:off x="7914915" y="2467197"/>
            <a:ext cx="3904151" cy="744037"/>
            <a:chOff x="7363372" y="1776598"/>
            <a:chExt cx="3624300" cy="744142"/>
          </a:xfrm>
        </p:grpSpPr>
        <p:sp>
          <p:nvSpPr>
            <p:cNvPr id="23" name="Text Placeholder 6">
              <a:extLst>
                <a:ext uri="{FF2B5EF4-FFF2-40B4-BE49-F238E27FC236}">
                  <a16:creationId xmlns:a16="http://schemas.microsoft.com/office/drawing/2014/main" id="{B226BB98-F7CA-4922-BE8D-27CFC2495E70}"/>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exported package ZIP file</a:t>
              </a:r>
            </a:p>
          </p:txBody>
        </p:sp>
        <p:grpSp>
          <p:nvGrpSpPr>
            <p:cNvPr id="24" name="Group 23">
              <a:extLst>
                <a:ext uri="{FF2B5EF4-FFF2-40B4-BE49-F238E27FC236}">
                  <a16:creationId xmlns:a16="http://schemas.microsoft.com/office/drawing/2014/main" id="{8EF3BFC6-958A-45C9-A79E-443033542983}"/>
                </a:ext>
              </a:extLst>
            </p:cNvPr>
            <p:cNvGrpSpPr/>
            <p:nvPr/>
          </p:nvGrpSpPr>
          <p:grpSpPr>
            <a:xfrm>
              <a:off x="7363372" y="1776598"/>
              <a:ext cx="623770" cy="623770"/>
              <a:chOff x="7363372" y="1776598"/>
              <a:chExt cx="623770" cy="623770"/>
            </a:xfrm>
          </p:grpSpPr>
          <p:sp>
            <p:nvSpPr>
              <p:cNvPr id="25" name="Diamond 24">
                <a:extLst>
                  <a:ext uri="{FF2B5EF4-FFF2-40B4-BE49-F238E27FC236}">
                    <a16:creationId xmlns:a16="http://schemas.microsoft.com/office/drawing/2014/main" id="{8D3BEBE9-9992-46B3-B006-DC6E8827FEC8}"/>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26" name="Diamond 25">
                <a:extLst>
                  <a:ext uri="{FF2B5EF4-FFF2-40B4-BE49-F238E27FC236}">
                    <a16:creationId xmlns:a16="http://schemas.microsoft.com/office/drawing/2014/main" id="{024FC5F4-99A6-4D4D-B9E5-4ED2C4B8F8C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5" name="Picture 4">
            <a:extLst>
              <a:ext uri="{FF2B5EF4-FFF2-40B4-BE49-F238E27FC236}">
                <a16:creationId xmlns:a16="http://schemas.microsoft.com/office/drawing/2014/main" id="{87B2DF41-3C72-4D73-8F3A-337151464A54}"/>
              </a:ext>
            </a:extLst>
          </p:cNvPr>
          <p:cNvPicPr>
            <a:picLocks noChangeAspect="1"/>
          </p:cNvPicPr>
          <p:nvPr/>
        </p:nvPicPr>
        <p:blipFill>
          <a:blip r:embed="rId7"/>
          <a:stretch>
            <a:fillRect/>
          </a:stretch>
        </p:blipFill>
        <p:spPr>
          <a:xfrm>
            <a:off x="735591" y="1933518"/>
            <a:ext cx="5999084" cy="3372113"/>
          </a:xfrm>
          <a:prstGeom prst="rect">
            <a:avLst/>
          </a:prstGeom>
        </p:spPr>
      </p:pic>
      <p:grpSp>
        <p:nvGrpSpPr>
          <p:cNvPr id="32" name="Group 31">
            <a:extLst>
              <a:ext uri="{FF2B5EF4-FFF2-40B4-BE49-F238E27FC236}">
                <a16:creationId xmlns:a16="http://schemas.microsoft.com/office/drawing/2014/main" id="{2FC9F69E-994C-448C-9912-CA24A641F9C5}"/>
              </a:ext>
            </a:extLst>
          </p:cNvPr>
          <p:cNvGrpSpPr/>
          <p:nvPr/>
        </p:nvGrpSpPr>
        <p:grpSpPr>
          <a:xfrm>
            <a:off x="869114" y="2016157"/>
            <a:ext cx="6370749" cy="3956577"/>
            <a:chOff x="1065876" y="2392834"/>
            <a:chExt cx="6371653" cy="3957139"/>
          </a:xfrm>
        </p:grpSpPr>
        <p:pic>
          <p:nvPicPr>
            <p:cNvPr id="33" name="Picture 29" descr="A close up of a screen&#10;&#10;Description automatically generated">
              <a:extLst>
                <a:ext uri="{FF2B5EF4-FFF2-40B4-BE49-F238E27FC236}">
                  <a16:creationId xmlns:a16="http://schemas.microsoft.com/office/drawing/2014/main" id="{6DDC4740-8D5B-4448-B0AA-5C34A2F5E8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34" name="Freeform: Shape 33">
              <a:extLst>
                <a:ext uri="{FF2B5EF4-FFF2-40B4-BE49-F238E27FC236}">
                  <a16:creationId xmlns:a16="http://schemas.microsoft.com/office/drawing/2014/main" id="{31B60DE1-3D47-4982-B4E3-76A2FA68B09A}"/>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0D8D0BA2-6305-40B1-B96D-DF4C38995890}"/>
              </a:ext>
            </a:extLst>
          </p:cNvPr>
          <p:cNvPicPr>
            <a:picLocks noChangeAspect="1"/>
          </p:cNvPicPr>
          <p:nvPr/>
        </p:nvPicPr>
        <p:blipFill>
          <a:blip r:embed="rId8"/>
          <a:stretch>
            <a:fillRect/>
          </a:stretch>
        </p:blipFill>
        <p:spPr>
          <a:xfrm>
            <a:off x="1063962" y="2292310"/>
            <a:ext cx="5984521" cy="3389304"/>
          </a:xfrm>
          <a:prstGeom prst="rect">
            <a:avLst/>
          </a:prstGeom>
        </p:spPr>
      </p:pic>
      <p:grpSp>
        <p:nvGrpSpPr>
          <p:cNvPr id="38" name="Group 37">
            <a:extLst>
              <a:ext uri="{FF2B5EF4-FFF2-40B4-BE49-F238E27FC236}">
                <a16:creationId xmlns:a16="http://schemas.microsoft.com/office/drawing/2014/main" id="{ED32F2DC-33C6-4C05-BE9D-EE0DB74CE2B9}"/>
              </a:ext>
            </a:extLst>
          </p:cNvPr>
          <p:cNvGrpSpPr/>
          <p:nvPr/>
        </p:nvGrpSpPr>
        <p:grpSpPr>
          <a:xfrm>
            <a:off x="7914915" y="3451032"/>
            <a:ext cx="3904151" cy="744037"/>
            <a:chOff x="7363372" y="1776598"/>
            <a:chExt cx="3624300" cy="744142"/>
          </a:xfrm>
        </p:grpSpPr>
        <p:sp>
          <p:nvSpPr>
            <p:cNvPr id="39" name="Text Placeholder 6">
              <a:extLst>
                <a:ext uri="{FF2B5EF4-FFF2-40B4-BE49-F238E27FC236}">
                  <a16:creationId xmlns:a16="http://schemas.microsoft.com/office/drawing/2014/main" id="{14844376-7CBB-4C63-949C-529EEB575290}"/>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Package will be uploaded</a:t>
              </a:r>
            </a:p>
          </p:txBody>
        </p:sp>
        <p:grpSp>
          <p:nvGrpSpPr>
            <p:cNvPr id="40" name="Group 39">
              <a:extLst>
                <a:ext uri="{FF2B5EF4-FFF2-40B4-BE49-F238E27FC236}">
                  <a16:creationId xmlns:a16="http://schemas.microsoft.com/office/drawing/2014/main" id="{3E0D7412-0D0A-49CF-A96C-390C0046B63B}"/>
                </a:ext>
              </a:extLst>
            </p:cNvPr>
            <p:cNvGrpSpPr/>
            <p:nvPr/>
          </p:nvGrpSpPr>
          <p:grpSpPr>
            <a:xfrm>
              <a:off x="7363372" y="1776598"/>
              <a:ext cx="623770" cy="623770"/>
              <a:chOff x="7363372" y="1776598"/>
              <a:chExt cx="623770" cy="623770"/>
            </a:xfrm>
          </p:grpSpPr>
          <p:sp>
            <p:nvSpPr>
              <p:cNvPr id="41" name="Diamond 40">
                <a:extLst>
                  <a:ext uri="{FF2B5EF4-FFF2-40B4-BE49-F238E27FC236}">
                    <a16:creationId xmlns:a16="http://schemas.microsoft.com/office/drawing/2014/main" id="{40E5DE54-C796-4E46-B2CB-EBEAB2F78BB3}"/>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3</a:t>
                </a:r>
              </a:p>
            </p:txBody>
          </p:sp>
          <p:sp>
            <p:nvSpPr>
              <p:cNvPr id="42" name="Diamond 41">
                <a:extLst>
                  <a:ext uri="{FF2B5EF4-FFF2-40B4-BE49-F238E27FC236}">
                    <a16:creationId xmlns:a16="http://schemas.microsoft.com/office/drawing/2014/main" id="{876CCC26-3EC6-4E2C-9A19-4A9D30B6F32E}"/>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EB4CC85D-636E-8F9F-FFAE-F05855E9E06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959265060"/>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dirty="0">
                <a:solidFill>
                  <a:schemeClr val="tx1"/>
                </a:solidFill>
                <a:cs typeface="Segoe UI Semibold"/>
              </a:rPr>
              <a:t>© Microsoft Corporation. All rights reserved.</a:t>
            </a:r>
            <a:endParaRPr lang="en-US" dirty="0">
              <a:solidFill>
                <a:schemeClr val="tx1"/>
              </a:solidFill>
              <a:cs typeface="Segoe UI Semibold" panose="020B0702040204020203" pitchFamily="34" charset="0"/>
            </a:endParaRPr>
          </a:p>
          <a:p>
            <a:pPr algn="ctr" defTabSz="914102">
              <a:spcBef>
                <a:spcPts val="600"/>
              </a:spcBef>
              <a:spcAft>
                <a:spcPts val="600"/>
              </a:spcAft>
              <a:defRPr/>
            </a:pPr>
            <a:r>
              <a:rPr lang="en-US" dirty="0">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dirty="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UI"/>
              </a:rPr>
              <a:t>Microsoft Confidential</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822466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Im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243768" y="1299199"/>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7872382" y="1404688"/>
            <a:ext cx="3904151" cy="623682"/>
            <a:chOff x="7363372" y="1776598"/>
            <a:chExt cx="3624300"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2884278"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Choose </a:t>
              </a:r>
              <a:r>
                <a:rPr lang="en-US" sz="2000" u="sng" spc="0" dirty="0">
                  <a:solidFill>
                    <a:srgbClr val="3C3C41"/>
                  </a:solidFill>
                  <a:latin typeface="Segoe UI Semibold"/>
                  <a:cs typeface="Segoe UI Light" panose="020B0502040204020203" pitchFamily="34" charset="0"/>
                </a:rPr>
                <a:t>Import canvas app</a:t>
              </a:r>
              <a:r>
                <a:rPr lang="en-US" sz="2000" spc="0" dirty="0">
                  <a:solidFill>
                    <a:srgbClr val="3C3C41"/>
                  </a:solidFill>
                  <a:latin typeface="Segoe UI Semibold"/>
                  <a:cs typeface="Segoe UI Light" panose="020B0502040204020203" pitchFamily="34" charset="0"/>
                </a:rPr>
                <a:t> in make.powerapps.com or </a:t>
              </a:r>
              <a:r>
                <a:rPr lang="en-US" sz="2000" u="sng" spc="0" dirty="0">
                  <a:solidFill>
                    <a:srgbClr val="3C3C41"/>
                  </a:solidFill>
                  <a:latin typeface="Segoe UI Semibold"/>
                  <a:cs typeface="Segoe UI Light" panose="020B0502040204020203" pitchFamily="34" charset="0"/>
                </a:rPr>
                <a:t>Import</a:t>
              </a:r>
              <a:r>
                <a:rPr lang="en-US" sz="2000" spc="0" dirty="0">
                  <a:solidFill>
                    <a:srgbClr val="3C3C41"/>
                  </a:solidFill>
                  <a:latin typeface="Segoe UI Semibold"/>
                  <a:cs typeface="Segoe UI Light" panose="020B0502040204020203" pitchFamily="34" charset="0"/>
                </a:rPr>
                <a:t> in aka.ms/flow</a:t>
              </a:r>
              <a:endParaRPr lang="en-US" sz="2000" u="sng" spc="0" dirty="0">
                <a:solidFill>
                  <a:srgbClr val="3C3C41"/>
                </a:solidFill>
                <a:latin typeface="Segoe UI Semibold"/>
                <a:cs typeface="Segoe UI Light" panose="020B0502040204020203" pitchFamily="34" charset="0"/>
              </a:endParaRP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8FF0429-C9E7-44E0-82FD-1EC560FF4698}"/>
              </a:ext>
            </a:extLst>
          </p:cNvPr>
          <p:cNvPicPr>
            <a:picLocks noChangeAspect="1"/>
          </p:cNvPicPr>
          <p:nvPr/>
        </p:nvPicPr>
        <p:blipFill>
          <a:blip r:embed="rId6"/>
          <a:stretch>
            <a:fillRect/>
          </a:stretch>
        </p:blipFill>
        <p:spPr>
          <a:xfrm>
            <a:off x="432347" y="1580352"/>
            <a:ext cx="5909977" cy="3410456"/>
          </a:xfrm>
          <a:prstGeom prst="rect">
            <a:avLst/>
          </a:prstGeom>
        </p:spPr>
      </p:pic>
      <p:grpSp>
        <p:nvGrpSpPr>
          <p:cNvPr id="14" name="Group 13">
            <a:extLst>
              <a:ext uri="{FF2B5EF4-FFF2-40B4-BE49-F238E27FC236}">
                <a16:creationId xmlns:a16="http://schemas.microsoft.com/office/drawing/2014/main" id="{246C21EA-5238-400E-9A91-F8A6403886FB}"/>
              </a:ext>
            </a:extLst>
          </p:cNvPr>
          <p:cNvGrpSpPr/>
          <p:nvPr/>
        </p:nvGrpSpPr>
        <p:grpSpPr>
          <a:xfrm>
            <a:off x="509973" y="1662993"/>
            <a:ext cx="6370749" cy="3956577"/>
            <a:chOff x="732501" y="2059459"/>
            <a:chExt cx="6371653" cy="3957139"/>
          </a:xfrm>
        </p:grpSpPr>
        <p:pic>
          <p:nvPicPr>
            <p:cNvPr id="20" name="Picture 29" descr="A close up of a screen&#10;&#10;Description automatically generated">
              <a:extLst>
                <a:ext uri="{FF2B5EF4-FFF2-40B4-BE49-F238E27FC236}">
                  <a16:creationId xmlns:a16="http://schemas.microsoft.com/office/drawing/2014/main" id="{8E8FCA9E-C2BA-454F-8B03-268F052D705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sp>
          <p:nvSpPr>
            <p:cNvPr id="21" name="Freeform: Shape 20">
              <a:extLst>
                <a:ext uri="{FF2B5EF4-FFF2-40B4-BE49-F238E27FC236}">
                  <a16:creationId xmlns:a16="http://schemas.microsoft.com/office/drawing/2014/main" id="{0AF0BC0E-277E-4492-A964-51E23429F704}"/>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DD4133AA-5845-418C-86A9-F49FF5034EAE}"/>
              </a:ext>
            </a:extLst>
          </p:cNvPr>
          <p:cNvGrpSpPr/>
          <p:nvPr/>
        </p:nvGrpSpPr>
        <p:grpSpPr>
          <a:xfrm>
            <a:off x="7872382" y="2477825"/>
            <a:ext cx="3904151" cy="744037"/>
            <a:chOff x="7363372" y="1776598"/>
            <a:chExt cx="3624300" cy="744142"/>
          </a:xfrm>
        </p:grpSpPr>
        <p:sp>
          <p:nvSpPr>
            <p:cNvPr id="23" name="Text Placeholder 6">
              <a:extLst>
                <a:ext uri="{FF2B5EF4-FFF2-40B4-BE49-F238E27FC236}">
                  <a16:creationId xmlns:a16="http://schemas.microsoft.com/office/drawing/2014/main" id="{B226BB98-F7CA-4922-BE8D-27CFC2495E70}"/>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exported package ZIP file</a:t>
              </a:r>
            </a:p>
          </p:txBody>
        </p:sp>
        <p:grpSp>
          <p:nvGrpSpPr>
            <p:cNvPr id="24" name="Group 23">
              <a:extLst>
                <a:ext uri="{FF2B5EF4-FFF2-40B4-BE49-F238E27FC236}">
                  <a16:creationId xmlns:a16="http://schemas.microsoft.com/office/drawing/2014/main" id="{8EF3BFC6-958A-45C9-A79E-443033542983}"/>
                </a:ext>
              </a:extLst>
            </p:cNvPr>
            <p:cNvGrpSpPr/>
            <p:nvPr/>
          </p:nvGrpSpPr>
          <p:grpSpPr>
            <a:xfrm>
              <a:off x="7363372" y="1776598"/>
              <a:ext cx="623770" cy="623770"/>
              <a:chOff x="7363372" y="1776598"/>
              <a:chExt cx="623770" cy="623770"/>
            </a:xfrm>
          </p:grpSpPr>
          <p:sp>
            <p:nvSpPr>
              <p:cNvPr id="25" name="Diamond 24">
                <a:extLst>
                  <a:ext uri="{FF2B5EF4-FFF2-40B4-BE49-F238E27FC236}">
                    <a16:creationId xmlns:a16="http://schemas.microsoft.com/office/drawing/2014/main" id="{8D3BEBE9-9992-46B3-B006-DC6E8827FEC8}"/>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26" name="Diamond 25">
                <a:extLst>
                  <a:ext uri="{FF2B5EF4-FFF2-40B4-BE49-F238E27FC236}">
                    <a16:creationId xmlns:a16="http://schemas.microsoft.com/office/drawing/2014/main" id="{024FC5F4-99A6-4D4D-B9E5-4ED2C4B8F8C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5" name="Picture 4">
            <a:extLst>
              <a:ext uri="{FF2B5EF4-FFF2-40B4-BE49-F238E27FC236}">
                <a16:creationId xmlns:a16="http://schemas.microsoft.com/office/drawing/2014/main" id="{87B2DF41-3C72-4D73-8F3A-337151464A54}"/>
              </a:ext>
            </a:extLst>
          </p:cNvPr>
          <p:cNvPicPr>
            <a:picLocks noChangeAspect="1"/>
          </p:cNvPicPr>
          <p:nvPr/>
        </p:nvPicPr>
        <p:blipFill>
          <a:blip r:embed="rId7"/>
          <a:stretch>
            <a:fillRect/>
          </a:stretch>
        </p:blipFill>
        <p:spPr>
          <a:xfrm>
            <a:off x="693058" y="1944146"/>
            <a:ext cx="5999084" cy="3372113"/>
          </a:xfrm>
          <a:prstGeom prst="rect">
            <a:avLst/>
          </a:prstGeom>
        </p:spPr>
      </p:pic>
      <p:grpSp>
        <p:nvGrpSpPr>
          <p:cNvPr id="32" name="Group 31">
            <a:extLst>
              <a:ext uri="{FF2B5EF4-FFF2-40B4-BE49-F238E27FC236}">
                <a16:creationId xmlns:a16="http://schemas.microsoft.com/office/drawing/2014/main" id="{2FC9F69E-994C-448C-9912-CA24A641F9C5}"/>
              </a:ext>
            </a:extLst>
          </p:cNvPr>
          <p:cNvGrpSpPr/>
          <p:nvPr/>
        </p:nvGrpSpPr>
        <p:grpSpPr>
          <a:xfrm>
            <a:off x="826581" y="2026785"/>
            <a:ext cx="6370749" cy="3956577"/>
            <a:chOff x="1065876" y="2392834"/>
            <a:chExt cx="6371653" cy="3957139"/>
          </a:xfrm>
        </p:grpSpPr>
        <p:pic>
          <p:nvPicPr>
            <p:cNvPr id="33" name="Picture 29" descr="A close up of a screen&#10;&#10;Description automatically generated">
              <a:extLst>
                <a:ext uri="{FF2B5EF4-FFF2-40B4-BE49-F238E27FC236}">
                  <a16:creationId xmlns:a16="http://schemas.microsoft.com/office/drawing/2014/main" id="{6DDC4740-8D5B-4448-B0AA-5C34A2F5E8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34" name="Freeform: Shape 33">
              <a:extLst>
                <a:ext uri="{FF2B5EF4-FFF2-40B4-BE49-F238E27FC236}">
                  <a16:creationId xmlns:a16="http://schemas.microsoft.com/office/drawing/2014/main" id="{31B60DE1-3D47-4982-B4E3-76A2FA68B09A}"/>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0D8D0BA2-6305-40B1-B96D-DF4C38995890}"/>
              </a:ext>
            </a:extLst>
          </p:cNvPr>
          <p:cNvPicPr>
            <a:picLocks noChangeAspect="1"/>
          </p:cNvPicPr>
          <p:nvPr/>
        </p:nvPicPr>
        <p:blipFill>
          <a:blip r:embed="rId8"/>
          <a:stretch>
            <a:fillRect/>
          </a:stretch>
        </p:blipFill>
        <p:spPr>
          <a:xfrm>
            <a:off x="1021429" y="2302938"/>
            <a:ext cx="5984521" cy="3389304"/>
          </a:xfrm>
          <a:prstGeom prst="rect">
            <a:avLst/>
          </a:prstGeom>
        </p:spPr>
      </p:pic>
      <p:grpSp>
        <p:nvGrpSpPr>
          <p:cNvPr id="35" name="Group 34">
            <a:extLst>
              <a:ext uri="{FF2B5EF4-FFF2-40B4-BE49-F238E27FC236}">
                <a16:creationId xmlns:a16="http://schemas.microsoft.com/office/drawing/2014/main" id="{69FF8C9F-3EBA-48D4-94A6-F42ED000F324}"/>
              </a:ext>
            </a:extLst>
          </p:cNvPr>
          <p:cNvGrpSpPr/>
          <p:nvPr/>
        </p:nvGrpSpPr>
        <p:grpSpPr>
          <a:xfrm>
            <a:off x="1119577" y="2392595"/>
            <a:ext cx="6370749" cy="3956577"/>
            <a:chOff x="1065876" y="2392834"/>
            <a:chExt cx="6371653" cy="3957139"/>
          </a:xfrm>
        </p:grpSpPr>
        <p:pic>
          <p:nvPicPr>
            <p:cNvPr id="36" name="Picture 29" descr="A close up of a screen&#10;&#10;Description automatically generated">
              <a:extLst>
                <a:ext uri="{FF2B5EF4-FFF2-40B4-BE49-F238E27FC236}">
                  <a16:creationId xmlns:a16="http://schemas.microsoft.com/office/drawing/2014/main" id="{19E2A46F-4E1E-46FB-8469-3903527081F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37" name="Freeform: Shape 36">
              <a:extLst>
                <a:ext uri="{FF2B5EF4-FFF2-40B4-BE49-F238E27FC236}">
                  <a16:creationId xmlns:a16="http://schemas.microsoft.com/office/drawing/2014/main" id="{006EDF11-0968-49A8-9FFA-AE3D54F54AE1}"/>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ED32F2DC-33C6-4C05-BE9D-EE0DB74CE2B9}"/>
              </a:ext>
            </a:extLst>
          </p:cNvPr>
          <p:cNvGrpSpPr/>
          <p:nvPr/>
        </p:nvGrpSpPr>
        <p:grpSpPr>
          <a:xfrm>
            <a:off x="7872382" y="3461660"/>
            <a:ext cx="3904151" cy="744037"/>
            <a:chOff x="7363372" y="1776598"/>
            <a:chExt cx="3624300" cy="744142"/>
          </a:xfrm>
        </p:grpSpPr>
        <p:sp>
          <p:nvSpPr>
            <p:cNvPr id="39" name="Text Placeholder 6">
              <a:extLst>
                <a:ext uri="{FF2B5EF4-FFF2-40B4-BE49-F238E27FC236}">
                  <a16:creationId xmlns:a16="http://schemas.microsoft.com/office/drawing/2014/main" id="{14844376-7CBB-4C63-949C-529EEB575290}"/>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Package will be uploaded</a:t>
              </a:r>
            </a:p>
          </p:txBody>
        </p:sp>
        <p:grpSp>
          <p:nvGrpSpPr>
            <p:cNvPr id="40" name="Group 39">
              <a:extLst>
                <a:ext uri="{FF2B5EF4-FFF2-40B4-BE49-F238E27FC236}">
                  <a16:creationId xmlns:a16="http://schemas.microsoft.com/office/drawing/2014/main" id="{3E0D7412-0D0A-49CF-A96C-390C0046B63B}"/>
                </a:ext>
              </a:extLst>
            </p:cNvPr>
            <p:cNvGrpSpPr/>
            <p:nvPr/>
          </p:nvGrpSpPr>
          <p:grpSpPr>
            <a:xfrm>
              <a:off x="7363372" y="1776598"/>
              <a:ext cx="623770" cy="623770"/>
              <a:chOff x="7363372" y="1776598"/>
              <a:chExt cx="623770" cy="623770"/>
            </a:xfrm>
          </p:grpSpPr>
          <p:sp>
            <p:nvSpPr>
              <p:cNvPr id="41" name="Diamond 40">
                <a:extLst>
                  <a:ext uri="{FF2B5EF4-FFF2-40B4-BE49-F238E27FC236}">
                    <a16:creationId xmlns:a16="http://schemas.microsoft.com/office/drawing/2014/main" id="{40E5DE54-C796-4E46-B2CB-EBEAB2F78BB3}"/>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3</a:t>
                </a:r>
              </a:p>
            </p:txBody>
          </p:sp>
          <p:sp>
            <p:nvSpPr>
              <p:cNvPr id="42" name="Diamond 41">
                <a:extLst>
                  <a:ext uri="{FF2B5EF4-FFF2-40B4-BE49-F238E27FC236}">
                    <a16:creationId xmlns:a16="http://schemas.microsoft.com/office/drawing/2014/main" id="{876CCC26-3EC6-4E2C-9A19-4A9D30B6F32E}"/>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43" name="Group 42">
            <a:extLst>
              <a:ext uri="{FF2B5EF4-FFF2-40B4-BE49-F238E27FC236}">
                <a16:creationId xmlns:a16="http://schemas.microsoft.com/office/drawing/2014/main" id="{D9BA9BCA-B181-4C7E-8481-2AE0F9ACF8D0}"/>
              </a:ext>
            </a:extLst>
          </p:cNvPr>
          <p:cNvGrpSpPr/>
          <p:nvPr/>
        </p:nvGrpSpPr>
        <p:grpSpPr>
          <a:xfrm>
            <a:off x="7872382" y="4495322"/>
            <a:ext cx="3904151" cy="744037"/>
            <a:chOff x="7363372" y="1776598"/>
            <a:chExt cx="3624300" cy="744142"/>
          </a:xfrm>
        </p:grpSpPr>
        <p:sp>
          <p:nvSpPr>
            <p:cNvPr id="44" name="Text Placeholder 6">
              <a:extLst>
                <a:ext uri="{FF2B5EF4-FFF2-40B4-BE49-F238E27FC236}">
                  <a16:creationId xmlns:a16="http://schemas.microsoft.com/office/drawing/2014/main" id="{92EDFC8D-2662-4666-9B34-6803B0703484}"/>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t import setup actions and click Import</a:t>
              </a:r>
            </a:p>
          </p:txBody>
        </p:sp>
        <p:grpSp>
          <p:nvGrpSpPr>
            <p:cNvPr id="45" name="Group 44">
              <a:extLst>
                <a:ext uri="{FF2B5EF4-FFF2-40B4-BE49-F238E27FC236}">
                  <a16:creationId xmlns:a16="http://schemas.microsoft.com/office/drawing/2014/main" id="{470A2684-6BD8-4197-9022-3C9D78CA6C2C}"/>
                </a:ext>
              </a:extLst>
            </p:cNvPr>
            <p:cNvGrpSpPr/>
            <p:nvPr/>
          </p:nvGrpSpPr>
          <p:grpSpPr>
            <a:xfrm>
              <a:off x="7363372" y="1776598"/>
              <a:ext cx="623770" cy="623770"/>
              <a:chOff x="7363372" y="1776598"/>
              <a:chExt cx="623770" cy="623770"/>
            </a:xfrm>
          </p:grpSpPr>
          <p:sp>
            <p:nvSpPr>
              <p:cNvPr id="46" name="Diamond 45">
                <a:extLst>
                  <a:ext uri="{FF2B5EF4-FFF2-40B4-BE49-F238E27FC236}">
                    <a16:creationId xmlns:a16="http://schemas.microsoft.com/office/drawing/2014/main" id="{0C16E2B8-0859-4DBA-A7CE-E3C0E4EC622C}"/>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4</a:t>
                </a:r>
              </a:p>
            </p:txBody>
          </p:sp>
          <p:sp>
            <p:nvSpPr>
              <p:cNvPr id="47" name="Diamond 46">
                <a:extLst>
                  <a:ext uri="{FF2B5EF4-FFF2-40B4-BE49-F238E27FC236}">
                    <a16:creationId xmlns:a16="http://schemas.microsoft.com/office/drawing/2014/main" id="{F88C44D7-A8D1-45B7-BE93-4FBA5DBA162C}"/>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2" name="Picture 11">
            <a:extLst>
              <a:ext uri="{FF2B5EF4-FFF2-40B4-BE49-F238E27FC236}">
                <a16:creationId xmlns:a16="http://schemas.microsoft.com/office/drawing/2014/main" id="{A7BF38EF-F220-4E6B-9460-4237908B73F4}"/>
              </a:ext>
            </a:extLst>
          </p:cNvPr>
          <p:cNvPicPr>
            <a:picLocks noChangeAspect="1"/>
          </p:cNvPicPr>
          <p:nvPr/>
        </p:nvPicPr>
        <p:blipFill>
          <a:blip r:embed="rId9"/>
          <a:stretch>
            <a:fillRect/>
          </a:stretch>
        </p:blipFill>
        <p:spPr>
          <a:xfrm>
            <a:off x="1313296" y="2682346"/>
            <a:ext cx="5982182" cy="3369585"/>
          </a:xfrm>
          <a:prstGeom prst="rect">
            <a:avLst/>
          </a:prstGeom>
        </p:spPr>
      </p:pic>
      <p:sp>
        <p:nvSpPr>
          <p:cNvPr id="3" name="Footer Placeholder 2">
            <a:extLst>
              <a:ext uri="{FF2B5EF4-FFF2-40B4-BE49-F238E27FC236}">
                <a16:creationId xmlns:a16="http://schemas.microsoft.com/office/drawing/2014/main" id="{7947D968-23AA-469C-6392-F2D26C84730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256260429"/>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Package Import</a:t>
            </a:r>
          </a:p>
        </p:txBody>
      </p:sp>
      <p:grpSp>
        <p:nvGrpSpPr>
          <p:cNvPr id="7" name="Group 6">
            <a:extLst>
              <a:ext uri="{FF2B5EF4-FFF2-40B4-BE49-F238E27FC236}">
                <a16:creationId xmlns:a16="http://schemas.microsoft.com/office/drawing/2014/main" id="{1D8A0069-DBAF-4262-9BB2-9C45C71E20D4}"/>
              </a:ext>
            </a:extLst>
          </p:cNvPr>
          <p:cNvGrpSpPr/>
          <p:nvPr/>
        </p:nvGrpSpPr>
        <p:grpSpPr>
          <a:xfrm>
            <a:off x="222502" y="1288569"/>
            <a:ext cx="6370749" cy="3956577"/>
            <a:chOff x="466258" y="1671093"/>
            <a:chExt cx="6371653" cy="3957139"/>
          </a:xfrm>
        </p:grpSpPr>
        <p:pic>
          <p:nvPicPr>
            <p:cNvPr id="8" name="Picture 29" descr="A close up of a screen&#10;&#10;Description automatically generated">
              <a:extLst>
                <a:ext uri="{FF2B5EF4-FFF2-40B4-BE49-F238E27FC236}">
                  <a16:creationId xmlns:a16="http://schemas.microsoft.com/office/drawing/2014/main" id="{55A0F9E1-1D62-4961-ADDE-0AD32265A2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6258" y="1671093"/>
              <a:ext cx="6371653" cy="3957139"/>
            </a:xfrm>
            <a:prstGeom prst="rect">
              <a:avLst/>
            </a:prstGeom>
            <a:effectLst>
              <a:outerShdw blurRad="241300" dist="165100" dir="5400000" sx="96000" sy="96000" algn="t" rotWithShape="0">
                <a:prstClr val="black">
                  <a:alpha val="46000"/>
                </a:prstClr>
              </a:outerShdw>
            </a:effectLst>
          </p:spPr>
        </p:pic>
        <p:pic>
          <p:nvPicPr>
            <p:cNvPr id="9" name="Picture 8">
              <a:extLst>
                <a:ext uri="{FF2B5EF4-FFF2-40B4-BE49-F238E27FC236}">
                  <a16:creationId xmlns:a16="http://schemas.microsoft.com/office/drawing/2014/main" id="{A3C9E901-9B9D-4B9B-8395-2E270B4FF33D}"/>
                </a:ext>
              </a:extLst>
            </p:cNvPr>
            <p:cNvPicPr>
              <a:picLocks noChangeAspect="1"/>
            </p:cNvPicPr>
            <p:nvPr/>
          </p:nvPicPr>
          <p:blipFill>
            <a:blip r:embed="rId5"/>
            <a:stretch>
              <a:fillRect/>
            </a:stretch>
          </p:blipFill>
          <p:spPr>
            <a:xfrm>
              <a:off x="732501" y="1987519"/>
              <a:ext cx="5833180" cy="3159639"/>
            </a:xfrm>
            <a:prstGeom prst="rect">
              <a:avLst/>
            </a:prstGeom>
          </p:spPr>
        </p:pic>
        <p:sp>
          <p:nvSpPr>
            <p:cNvPr id="10" name="Freeform: Shape 9">
              <a:extLst>
                <a:ext uri="{FF2B5EF4-FFF2-40B4-BE49-F238E27FC236}">
                  <a16:creationId xmlns:a16="http://schemas.microsoft.com/office/drawing/2014/main" id="{578A56CA-BBA8-4BEF-A40B-0D5AF2946F68}"/>
                </a:ext>
              </a:extLst>
            </p:cNvPr>
            <p:cNvSpPr/>
            <p:nvPr/>
          </p:nvSpPr>
          <p:spPr bwMode="auto">
            <a:xfrm>
              <a:off x="654865" y="1952286"/>
              <a:ext cx="5910816"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32F9CFA-C507-48FE-A52A-AC6FB577A654}"/>
              </a:ext>
            </a:extLst>
          </p:cNvPr>
          <p:cNvGrpSpPr/>
          <p:nvPr/>
        </p:nvGrpSpPr>
        <p:grpSpPr>
          <a:xfrm>
            <a:off x="8095671" y="1404683"/>
            <a:ext cx="3904151" cy="623682"/>
            <a:chOff x="7363372" y="1776598"/>
            <a:chExt cx="3624300"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2884278"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Choose </a:t>
              </a:r>
              <a:r>
                <a:rPr lang="en-US" sz="2000" u="sng" spc="0" dirty="0">
                  <a:solidFill>
                    <a:srgbClr val="3C3C41"/>
                  </a:solidFill>
                  <a:latin typeface="Segoe UI Semibold"/>
                  <a:cs typeface="Segoe UI Light" panose="020B0502040204020203" pitchFamily="34" charset="0"/>
                </a:rPr>
                <a:t>Import canvas app</a:t>
              </a:r>
              <a:r>
                <a:rPr lang="en-US" sz="2000" spc="0" dirty="0">
                  <a:solidFill>
                    <a:srgbClr val="3C3C41"/>
                  </a:solidFill>
                  <a:latin typeface="Segoe UI Semibold"/>
                  <a:cs typeface="Segoe UI Light" panose="020B0502040204020203" pitchFamily="34" charset="0"/>
                </a:rPr>
                <a:t> in make.powerapps.com or </a:t>
              </a:r>
              <a:r>
                <a:rPr lang="en-US" sz="2000" u="sng" spc="0" dirty="0">
                  <a:solidFill>
                    <a:srgbClr val="3C3C41"/>
                  </a:solidFill>
                  <a:latin typeface="Segoe UI Semibold"/>
                  <a:cs typeface="Segoe UI Light" panose="020B0502040204020203" pitchFamily="34" charset="0"/>
                </a:rPr>
                <a:t>Import</a:t>
              </a:r>
              <a:r>
                <a:rPr lang="en-US" sz="2000" spc="0" dirty="0">
                  <a:solidFill>
                    <a:srgbClr val="3C3C41"/>
                  </a:solidFill>
                  <a:latin typeface="Segoe UI Semibold"/>
                  <a:cs typeface="Segoe UI Light" panose="020B0502040204020203" pitchFamily="34" charset="0"/>
                </a:rPr>
                <a:t> in aka.ms/flow</a:t>
              </a:r>
              <a:endParaRPr lang="en-US" sz="2000" u="sng" spc="0" dirty="0">
                <a:solidFill>
                  <a:srgbClr val="3C3C41"/>
                </a:solidFill>
                <a:latin typeface="Segoe UI Semibold"/>
                <a:cs typeface="Segoe UI Light" panose="020B0502040204020203" pitchFamily="34" charset="0"/>
              </a:endParaRP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1" name="Picture 10">
            <a:extLst>
              <a:ext uri="{FF2B5EF4-FFF2-40B4-BE49-F238E27FC236}">
                <a16:creationId xmlns:a16="http://schemas.microsoft.com/office/drawing/2014/main" id="{98FF0429-C9E7-44E0-82FD-1EC560FF4698}"/>
              </a:ext>
            </a:extLst>
          </p:cNvPr>
          <p:cNvPicPr>
            <a:picLocks noChangeAspect="1"/>
          </p:cNvPicPr>
          <p:nvPr/>
        </p:nvPicPr>
        <p:blipFill>
          <a:blip r:embed="rId6"/>
          <a:stretch>
            <a:fillRect/>
          </a:stretch>
        </p:blipFill>
        <p:spPr>
          <a:xfrm>
            <a:off x="411081" y="1569722"/>
            <a:ext cx="5909977" cy="3410456"/>
          </a:xfrm>
          <a:prstGeom prst="rect">
            <a:avLst/>
          </a:prstGeom>
        </p:spPr>
      </p:pic>
      <p:grpSp>
        <p:nvGrpSpPr>
          <p:cNvPr id="14" name="Group 13">
            <a:extLst>
              <a:ext uri="{FF2B5EF4-FFF2-40B4-BE49-F238E27FC236}">
                <a16:creationId xmlns:a16="http://schemas.microsoft.com/office/drawing/2014/main" id="{246C21EA-5238-400E-9A91-F8A6403886FB}"/>
              </a:ext>
            </a:extLst>
          </p:cNvPr>
          <p:cNvGrpSpPr/>
          <p:nvPr/>
        </p:nvGrpSpPr>
        <p:grpSpPr>
          <a:xfrm>
            <a:off x="488707" y="1652363"/>
            <a:ext cx="6370749" cy="3956577"/>
            <a:chOff x="732501" y="2059459"/>
            <a:chExt cx="6371653" cy="3957139"/>
          </a:xfrm>
        </p:grpSpPr>
        <p:pic>
          <p:nvPicPr>
            <p:cNvPr id="20" name="Picture 29" descr="A close up of a screen&#10;&#10;Description automatically generated">
              <a:extLst>
                <a:ext uri="{FF2B5EF4-FFF2-40B4-BE49-F238E27FC236}">
                  <a16:creationId xmlns:a16="http://schemas.microsoft.com/office/drawing/2014/main" id="{8E8FCA9E-C2BA-454F-8B03-268F052D705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32501" y="2059459"/>
              <a:ext cx="6371653" cy="3957139"/>
            </a:xfrm>
            <a:prstGeom prst="rect">
              <a:avLst/>
            </a:prstGeom>
            <a:effectLst>
              <a:outerShdw blurRad="241300" dist="165100" dir="5400000" sx="96000" sy="96000" algn="t" rotWithShape="0">
                <a:prstClr val="black">
                  <a:alpha val="46000"/>
                </a:prstClr>
              </a:outerShdw>
            </a:effectLst>
          </p:spPr>
        </p:pic>
        <p:sp>
          <p:nvSpPr>
            <p:cNvPr id="21" name="Freeform: Shape 20">
              <a:extLst>
                <a:ext uri="{FF2B5EF4-FFF2-40B4-BE49-F238E27FC236}">
                  <a16:creationId xmlns:a16="http://schemas.microsoft.com/office/drawing/2014/main" id="{0AF0BC0E-277E-4492-A964-51E23429F704}"/>
                </a:ext>
              </a:extLst>
            </p:cNvPr>
            <p:cNvSpPr/>
            <p:nvPr/>
          </p:nvSpPr>
          <p:spPr bwMode="auto">
            <a:xfrm>
              <a:off x="915613" y="2340652"/>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DD4133AA-5845-418C-86A9-F49FF5034EAE}"/>
              </a:ext>
            </a:extLst>
          </p:cNvPr>
          <p:cNvGrpSpPr/>
          <p:nvPr/>
        </p:nvGrpSpPr>
        <p:grpSpPr>
          <a:xfrm>
            <a:off x="8095671" y="2477820"/>
            <a:ext cx="3904151" cy="744037"/>
            <a:chOff x="7363372" y="1776598"/>
            <a:chExt cx="3624300" cy="744142"/>
          </a:xfrm>
        </p:grpSpPr>
        <p:sp>
          <p:nvSpPr>
            <p:cNvPr id="23" name="Text Placeholder 6">
              <a:extLst>
                <a:ext uri="{FF2B5EF4-FFF2-40B4-BE49-F238E27FC236}">
                  <a16:creationId xmlns:a16="http://schemas.microsoft.com/office/drawing/2014/main" id="{B226BB98-F7CA-4922-BE8D-27CFC2495E70}"/>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lect exported package ZIP file</a:t>
              </a:r>
            </a:p>
          </p:txBody>
        </p:sp>
        <p:grpSp>
          <p:nvGrpSpPr>
            <p:cNvPr id="24" name="Group 23">
              <a:extLst>
                <a:ext uri="{FF2B5EF4-FFF2-40B4-BE49-F238E27FC236}">
                  <a16:creationId xmlns:a16="http://schemas.microsoft.com/office/drawing/2014/main" id="{8EF3BFC6-958A-45C9-A79E-443033542983}"/>
                </a:ext>
              </a:extLst>
            </p:cNvPr>
            <p:cNvGrpSpPr/>
            <p:nvPr/>
          </p:nvGrpSpPr>
          <p:grpSpPr>
            <a:xfrm>
              <a:off x="7363372" y="1776598"/>
              <a:ext cx="623770" cy="623770"/>
              <a:chOff x="7363372" y="1776598"/>
              <a:chExt cx="623770" cy="623770"/>
            </a:xfrm>
          </p:grpSpPr>
          <p:sp>
            <p:nvSpPr>
              <p:cNvPr id="25" name="Diamond 24">
                <a:extLst>
                  <a:ext uri="{FF2B5EF4-FFF2-40B4-BE49-F238E27FC236}">
                    <a16:creationId xmlns:a16="http://schemas.microsoft.com/office/drawing/2014/main" id="{8D3BEBE9-9992-46B3-B006-DC6E8827FEC8}"/>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26" name="Diamond 25">
                <a:extLst>
                  <a:ext uri="{FF2B5EF4-FFF2-40B4-BE49-F238E27FC236}">
                    <a16:creationId xmlns:a16="http://schemas.microsoft.com/office/drawing/2014/main" id="{024FC5F4-99A6-4D4D-B9E5-4ED2C4B8F8C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5" name="Picture 4">
            <a:extLst>
              <a:ext uri="{FF2B5EF4-FFF2-40B4-BE49-F238E27FC236}">
                <a16:creationId xmlns:a16="http://schemas.microsoft.com/office/drawing/2014/main" id="{87B2DF41-3C72-4D73-8F3A-337151464A54}"/>
              </a:ext>
            </a:extLst>
          </p:cNvPr>
          <p:cNvPicPr>
            <a:picLocks noChangeAspect="1"/>
          </p:cNvPicPr>
          <p:nvPr/>
        </p:nvPicPr>
        <p:blipFill>
          <a:blip r:embed="rId7"/>
          <a:stretch>
            <a:fillRect/>
          </a:stretch>
        </p:blipFill>
        <p:spPr>
          <a:xfrm>
            <a:off x="671792" y="1933516"/>
            <a:ext cx="5999084" cy="3372113"/>
          </a:xfrm>
          <a:prstGeom prst="rect">
            <a:avLst/>
          </a:prstGeom>
        </p:spPr>
      </p:pic>
      <p:grpSp>
        <p:nvGrpSpPr>
          <p:cNvPr id="32" name="Group 31">
            <a:extLst>
              <a:ext uri="{FF2B5EF4-FFF2-40B4-BE49-F238E27FC236}">
                <a16:creationId xmlns:a16="http://schemas.microsoft.com/office/drawing/2014/main" id="{2FC9F69E-994C-448C-9912-CA24A641F9C5}"/>
              </a:ext>
            </a:extLst>
          </p:cNvPr>
          <p:cNvGrpSpPr/>
          <p:nvPr/>
        </p:nvGrpSpPr>
        <p:grpSpPr>
          <a:xfrm>
            <a:off x="805315" y="2016155"/>
            <a:ext cx="6370749" cy="3956577"/>
            <a:chOff x="1065876" y="2392834"/>
            <a:chExt cx="6371653" cy="3957139"/>
          </a:xfrm>
        </p:grpSpPr>
        <p:pic>
          <p:nvPicPr>
            <p:cNvPr id="33" name="Picture 29" descr="A close up of a screen&#10;&#10;Description automatically generated">
              <a:extLst>
                <a:ext uri="{FF2B5EF4-FFF2-40B4-BE49-F238E27FC236}">
                  <a16:creationId xmlns:a16="http://schemas.microsoft.com/office/drawing/2014/main" id="{6DDC4740-8D5B-4448-B0AA-5C34A2F5E8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34" name="Freeform: Shape 33">
              <a:extLst>
                <a:ext uri="{FF2B5EF4-FFF2-40B4-BE49-F238E27FC236}">
                  <a16:creationId xmlns:a16="http://schemas.microsoft.com/office/drawing/2014/main" id="{31B60DE1-3D47-4982-B4E3-76A2FA68B09A}"/>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0D8D0BA2-6305-40B1-B96D-DF4C38995890}"/>
              </a:ext>
            </a:extLst>
          </p:cNvPr>
          <p:cNvPicPr>
            <a:picLocks noChangeAspect="1"/>
          </p:cNvPicPr>
          <p:nvPr/>
        </p:nvPicPr>
        <p:blipFill>
          <a:blip r:embed="rId8"/>
          <a:stretch>
            <a:fillRect/>
          </a:stretch>
        </p:blipFill>
        <p:spPr>
          <a:xfrm>
            <a:off x="1000163" y="2292308"/>
            <a:ext cx="5984521" cy="3389304"/>
          </a:xfrm>
          <a:prstGeom prst="rect">
            <a:avLst/>
          </a:prstGeom>
        </p:spPr>
      </p:pic>
      <p:grpSp>
        <p:nvGrpSpPr>
          <p:cNvPr id="35" name="Group 34">
            <a:extLst>
              <a:ext uri="{FF2B5EF4-FFF2-40B4-BE49-F238E27FC236}">
                <a16:creationId xmlns:a16="http://schemas.microsoft.com/office/drawing/2014/main" id="{69FF8C9F-3EBA-48D4-94A6-F42ED000F324}"/>
              </a:ext>
            </a:extLst>
          </p:cNvPr>
          <p:cNvGrpSpPr/>
          <p:nvPr/>
        </p:nvGrpSpPr>
        <p:grpSpPr>
          <a:xfrm>
            <a:off x="1098311" y="2381965"/>
            <a:ext cx="6370749" cy="3956577"/>
            <a:chOff x="1065876" y="2392834"/>
            <a:chExt cx="6371653" cy="3957139"/>
          </a:xfrm>
        </p:grpSpPr>
        <p:pic>
          <p:nvPicPr>
            <p:cNvPr id="36" name="Picture 29" descr="A close up of a screen&#10;&#10;Description automatically generated">
              <a:extLst>
                <a:ext uri="{FF2B5EF4-FFF2-40B4-BE49-F238E27FC236}">
                  <a16:creationId xmlns:a16="http://schemas.microsoft.com/office/drawing/2014/main" id="{19E2A46F-4E1E-46FB-8469-3903527081F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37" name="Freeform: Shape 36">
              <a:extLst>
                <a:ext uri="{FF2B5EF4-FFF2-40B4-BE49-F238E27FC236}">
                  <a16:creationId xmlns:a16="http://schemas.microsoft.com/office/drawing/2014/main" id="{006EDF11-0968-49A8-9FFA-AE3D54F54AE1}"/>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ED32F2DC-33C6-4C05-BE9D-EE0DB74CE2B9}"/>
              </a:ext>
            </a:extLst>
          </p:cNvPr>
          <p:cNvGrpSpPr/>
          <p:nvPr/>
        </p:nvGrpSpPr>
        <p:grpSpPr>
          <a:xfrm>
            <a:off x="8095671" y="3461655"/>
            <a:ext cx="3904151" cy="744037"/>
            <a:chOff x="7363372" y="1776598"/>
            <a:chExt cx="3624300" cy="744142"/>
          </a:xfrm>
        </p:grpSpPr>
        <p:sp>
          <p:nvSpPr>
            <p:cNvPr id="39" name="Text Placeholder 6">
              <a:extLst>
                <a:ext uri="{FF2B5EF4-FFF2-40B4-BE49-F238E27FC236}">
                  <a16:creationId xmlns:a16="http://schemas.microsoft.com/office/drawing/2014/main" id="{14844376-7CBB-4C63-949C-529EEB575290}"/>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Package will be uploaded</a:t>
              </a:r>
            </a:p>
          </p:txBody>
        </p:sp>
        <p:grpSp>
          <p:nvGrpSpPr>
            <p:cNvPr id="40" name="Group 39">
              <a:extLst>
                <a:ext uri="{FF2B5EF4-FFF2-40B4-BE49-F238E27FC236}">
                  <a16:creationId xmlns:a16="http://schemas.microsoft.com/office/drawing/2014/main" id="{3E0D7412-0D0A-49CF-A96C-390C0046B63B}"/>
                </a:ext>
              </a:extLst>
            </p:cNvPr>
            <p:cNvGrpSpPr/>
            <p:nvPr/>
          </p:nvGrpSpPr>
          <p:grpSpPr>
            <a:xfrm>
              <a:off x="7363372" y="1776598"/>
              <a:ext cx="623770" cy="623770"/>
              <a:chOff x="7363372" y="1776598"/>
              <a:chExt cx="623770" cy="623770"/>
            </a:xfrm>
          </p:grpSpPr>
          <p:sp>
            <p:nvSpPr>
              <p:cNvPr id="41" name="Diamond 40">
                <a:extLst>
                  <a:ext uri="{FF2B5EF4-FFF2-40B4-BE49-F238E27FC236}">
                    <a16:creationId xmlns:a16="http://schemas.microsoft.com/office/drawing/2014/main" id="{40E5DE54-C796-4E46-B2CB-EBEAB2F78BB3}"/>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3</a:t>
                </a:r>
              </a:p>
            </p:txBody>
          </p:sp>
          <p:sp>
            <p:nvSpPr>
              <p:cNvPr id="42" name="Diamond 41">
                <a:extLst>
                  <a:ext uri="{FF2B5EF4-FFF2-40B4-BE49-F238E27FC236}">
                    <a16:creationId xmlns:a16="http://schemas.microsoft.com/office/drawing/2014/main" id="{876CCC26-3EC6-4E2C-9A19-4A9D30B6F32E}"/>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43" name="Group 42">
            <a:extLst>
              <a:ext uri="{FF2B5EF4-FFF2-40B4-BE49-F238E27FC236}">
                <a16:creationId xmlns:a16="http://schemas.microsoft.com/office/drawing/2014/main" id="{D9BA9BCA-B181-4C7E-8481-2AE0F9ACF8D0}"/>
              </a:ext>
            </a:extLst>
          </p:cNvPr>
          <p:cNvGrpSpPr/>
          <p:nvPr/>
        </p:nvGrpSpPr>
        <p:grpSpPr>
          <a:xfrm>
            <a:off x="8095671" y="4495317"/>
            <a:ext cx="3904151" cy="744037"/>
            <a:chOff x="7363372" y="1776598"/>
            <a:chExt cx="3624300" cy="744142"/>
          </a:xfrm>
        </p:grpSpPr>
        <p:sp>
          <p:nvSpPr>
            <p:cNvPr id="44" name="Text Placeholder 6">
              <a:extLst>
                <a:ext uri="{FF2B5EF4-FFF2-40B4-BE49-F238E27FC236}">
                  <a16:creationId xmlns:a16="http://schemas.microsoft.com/office/drawing/2014/main" id="{92EDFC8D-2662-4666-9B34-6803B0703484}"/>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Set import setup actions and click Import</a:t>
              </a:r>
            </a:p>
          </p:txBody>
        </p:sp>
        <p:grpSp>
          <p:nvGrpSpPr>
            <p:cNvPr id="45" name="Group 44">
              <a:extLst>
                <a:ext uri="{FF2B5EF4-FFF2-40B4-BE49-F238E27FC236}">
                  <a16:creationId xmlns:a16="http://schemas.microsoft.com/office/drawing/2014/main" id="{470A2684-6BD8-4197-9022-3C9D78CA6C2C}"/>
                </a:ext>
              </a:extLst>
            </p:cNvPr>
            <p:cNvGrpSpPr/>
            <p:nvPr/>
          </p:nvGrpSpPr>
          <p:grpSpPr>
            <a:xfrm>
              <a:off x="7363372" y="1776598"/>
              <a:ext cx="623770" cy="623770"/>
              <a:chOff x="7363372" y="1776598"/>
              <a:chExt cx="623770" cy="623770"/>
            </a:xfrm>
          </p:grpSpPr>
          <p:sp>
            <p:nvSpPr>
              <p:cNvPr id="46" name="Diamond 45">
                <a:extLst>
                  <a:ext uri="{FF2B5EF4-FFF2-40B4-BE49-F238E27FC236}">
                    <a16:creationId xmlns:a16="http://schemas.microsoft.com/office/drawing/2014/main" id="{0C16E2B8-0859-4DBA-A7CE-E3C0E4EC622C}"/>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4</a:t>
                </a:r>
              </a:p>
            </p:txBody>
          </p:sp>
          <p:sp>
            <p:nvSpPr>
              <p:cNvPr id="47" name="Diamond 46">
                <a:extLst>
                  <a:ext uri="{FF2B5EF4-FFF2-40B4-BE49-F238E27FC236}">
                    <a16:creationId xmlns:a16="http://schemas.microsoft.com/office/drawing/2014/main" id="{F88C44D7-A8D1-45B7-BE93-4FBA5DBA162C}"/>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12" name="Picture 11">
            <a:extLst>
              <a:ext uri="{FF2B5EF4-FFF2-40B4-BE49-F238E27FC236}">
                <a16:creationId xmlns:a16="http://schemas.microsoft.com/office/drawing/2014/main" id="{A7BF38EF-F220-4E6B-9460-4237908B73F4}"/>
              </a:ext>
            </a:extLst>
          </p:cNvPr>
          <p:cNvPicPr>
            <a:picLocks noChangeAspect="1"/>
          </p:cNvPicPr>
          <p:nvPr/>
        </p:nvPicPr>
        <p:blipFill>
          <a:blip r:embed="rId9"/>
          <a:stretch>
            <a:fillRect/>
          </a:stretch>
        </p:blipFill>
        <p:spPr>
          <a:xfrm>
            <a:off x="1292030" y="2671716"/>
            <a:ext cx="5982182" cy="3369585"/>
          </a:xfrm>
          <a:prstGeom prst="rect">
            <a:avLst/>
          </a:prstGeom>
        </p:spPr>
      </p:pic>
      <p:grpSp>
        <p:nvGrpSpPr>
          <p:cNvPr id="48" name="Group 47">
            <a:extLst>
              <a:ext uri="{FF2B5EF4-FFF2-40B4-BE49-F238E27FC236}">
                <a16:creationId xmlns:a16="http://schemas.microsoft.com/office/drawing/2014/main" id="{740700EE-A3E7-4932-AC41-9848BB58B739}"/>
              </a:ext>
            </a:extLst>
          </p:cNvPr>
          <p:cNvGrpSpPr/>
          <p:nvPr/>
        </p:nvGrpSpPr>
        <p:grpSpPr>
          <a:xfrm>
            <a:off x="1456791" y="2761883"/>
            <a:ext cx="6370749" cy="3956577"/>
            <a:chOff x="1065876" y="2392834"/>
            <a:chExt cx="6371653" cy="3957139"/>
          </a:xfrm>
        </p:grpSpPr>
        <p:pic>
          <p:nvPicPr>
            <p:cNvPr id="49" name="Picture 29" descr="A close up of a screen&#10;&#10;Description automatically generated">
              <a:extLst>
                <a:ext uri="{FF2B5EF4-FFF2-40B4-BE49-F238E27FC236}">
                  <a16:creationId xmlns:a16="http://schemas.microsoft.com/office/drawing/2014/main" id="{BD5C21F0-B6EB-4180-A5FA-90060EEE024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65876" y="2392834"/>
              <a:ext cx="6371653" cy="3957139"/>
            </a:xfrm>
            <a:prstGeom prst="rect">
              <a:avLst/>
            </a:prstGeom>
            <a:effectLst>
              <a:outerShdw blurRad="241300" dist="165100" dir="5400000" sx="96000" sy="96000" algn="t" rotWithShape="0">
                <a:prstClr val="black">
                  <a:alpha val="46000"/>
                </a:prstClr>
              </a:outerShdw>
            </a:effectLst>
          </p:spPr>
        </p:pic>
        <p:sp>
          <p:nvSpPr>
            <p:cNvPr id="50" name="Freeform: Shape 49">
              <a:extLst>
                <a:ext uri="{FF2B5EF4-FFF2-40B4-BE49-F238E27FC236}">
                  <a16:creationId xmlns:a16="http://schemas.microsoft.com/office/drawing/2014/main" id="{F97C2BB5-822E-4C4D-BA1A-586497023565}"/>
                </a:ext>
              </a:extLst>
            </p:cNvPr>
            <p:cNvSpPr/>
            <p:nvPr/>
          </p:nvSpPr>
          <p:spPr bwMode="auto">
            <a:xfrm>
              <a:off x="1248988" y="2674027"/>
              <a:ext cx="6005428" cy="3394752"/>
            </a:xfrm>
            <a:custGeom>
              <a:avLst/>
              <a:gdLst>
                <a:gd name="connsiteX0" fmla="*/ 0 w 5816775"/>
                <a:gd name="connsiteY0" fmla="*/ 0 h 3340808"/>
                <a:gd name="connsiteX1" fmla="*/ 5816775 w 5816775"/>
                <a:gd name="connsiteY1" fmla="*/ 0 h 3340808"/>
                <a:gd name="connsiteX2" fmla="*/ 5816775 w 5816775"/>
                <a:gd name="connsiteY2" fmla="*/ 3340808 h 3340808"/>
                <a:gd name="connsiteX3" fmla="*/ 0 w 5816775"/>
                <a:gd name="connsiteY3" fmla="*/ 3340808 h 3340808"/>
                <a:gd name="connsiteX4" fmla="*/ 0 w 5816775"/>
                <a:gd name="connsiteY4" fmla="*/ 0 h 334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6775" h="3340808">
                  <a:moveTo>
                    <a:pt x="0" y="0"/>
                  </a:moveTo>
                  <a:lnTo>
                    <a:pt x="5816775" y="0"/>
                  </a:lnTo>
                  <a:lnTo>
                    <a:pt x="5816775" y="3340808"/>
                  </a:lnTo>
                  <a:lnTo>
                    <a:pt x="0" y="3340808"/>
                  </a:lnTo>
                  <a:lnTo>
                    <a:pt x="0"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1" name="Group 50">
            <a:extLst>
              <a:ext uri="{FF2B5EF4-FFF2-40B4-BE49-F238E27FC236}">
                <a16:creationId xmlns:a16="http://schemas.microsoft.com/office/drawing/2014/main" id="{73207307-F18B-4520-A443-00DEAA208C8D}"/>
              </a:ext>
            </a:extLst>
          </p:cNvPr>
          <p:cNvGrpSpPr/>
          <p:nvPr/>
        </p:nvGrpSpPr>
        <p:grpSpPr>
          <a:xfrm>
            <a:off x="8095671" y="5528979"/>
            <a:ext cx="3904151" cy="744037"/>
            <a:chOff x="7363372" y="1776598"/>
            <a:chExt cx="3624300" cy="744142"/>
          </a:xfrm>
        </p:grpSpPr>
        <p:sp>
          <p:nvSpPr>
            <p:cNvPr id="52" name="Text Placeholder 6">
              <a:extLst>
                <a:ext uri="{FF2B5EF4-FFF2-40B4-BE49-F238E27FC236}">
                  <a16:creationId xmlns:a16="http://schemas.microsoft.com/office/drawing/2014/main" id="{2C4F0AC4-91A0-4E8F-AFC0-14DAAE8EE4D1}"/>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2000" spc="0" dirty="0">
                  <a:solidFill>
                    <a:srgbClr val="3C3C41"/>
                  </a:solidFill>
                  <a:latin typeface="Segoe UI Semibold"/>
                  <a:cs typeface="Segoe UI Light" panose="020B0502040204020203" pitchFamily="34" charset="0"/>
                </a:rPr>
                <a:t>Import is done and you can open the app</a:t>
              </a:r>
            </a:p>
          </p:txBody>
        </p:sp>
        <p:grpSp>
          <p:nvGrpSpPr>
            <p:cNvPr id="53" name="Group 52">
              <a:extLst>
                <a:ext uri="{FF2B5EF4-FFF2-40B4-BE49-F238E27FC236}">
                  <a16:creationId xmlns:a16="http://schemas.microsoft.com/office/drawing/2014/main" id="{41CB396C-67A5-411D-A5B4-5A05EE627B1A}"/>
                </a:ext>
              </a:extLst>
            </p:cNvPr>
            <p:cNvGrpSpPr/>
            <p:nvPr/>
          </p:nvGrpSpPr>
          <p:grpSpPr>
            <a:xfrm>
              <a:off x="7363372" y="1776598"/>
              <a:ext cx="623770" cy="623770"/>
              <a:chOff x="7363372" y="1776598"/>
              <a:chExt cx="623770" cy="623770"/>
            </a:xfrm>
          </p:grpSpPr>
          <p:sp>
            <p:nvSpPr>
              <p:cNvPr id="54" name="Diamond 53">
                <a:extLst>
                  <a:ext uri="{FF2B5EF4-FFF2-40B4-BE49-F238E27FC236}">
                    <a16:creationId xmlns:a16="http://schemas.microsoft.com/office/drawing/2014/main" id="{255C6EC3-0544-4A09-98D5-E7450042BC7F}"/>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5</a:t>
                </a:r>
              </a:p>
            </p:txBody>
          </p:sp>
          <p:sp>
            <p:nvSpPr>
              <p:cNvPr id="55" name="Diamond 54">
                <a:extLst>
                  <a:ext uri="{FF2B5EF4-FFF2-40B4-BE49-F238E27FC236}">
                    <a16:creationId xmlns:a16="http://schemas.microsoft.com/office/drawing/2014/main" id="{AB44C0D1-3B8E-47E3-86E1-E93593174487}"/>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56" name="Picture 55">
            <a:extLst>
              <a:ext uri="{FF2B5EF4-FFF2-40B4-BE49-F238E27FC236}">
                <a16:creationId xmlns:a16="http://schemas.microsoft.com/office/drawing/2014/main" id="{E78E9BCB-59D7-443F-88DA-ECF8384D6D4C}"/>
              </a:ext>
            </a:extLst>
          </p:cNvPr>
          <p:cNvPicPr>
            <a:picLocks noChangeAspect="1"/>
          </p:cNvPicPr>
          <p:nvPr/>
        </p:nvPicPr>
        <p:blipFill>
          <a:blip r:embed="rId10"/>
          <a:stretch>
            <a:fillRect/>
          </a:stretch>
        </p:blipFill>
        <p:spPr>
          <a:xfrm>
            <a:off x="1647335" y="3052705"/>
            <a:ext cx="5995082" cy="3368514"/>
          </a:xfrm>
          <a:prstGeom prst="rect">
            <a:avLst/>
          </a:prstGeom>
        </p:spPr>
      </p:pic>
      <p:sp>
        <p:nvSpPr>
          <p:cNvPr id="3" name="Footer Placeholder 2">
            <a:extLst>
              <a:ext uri="{FF2B5EF4-FFF2-40B4-BE49-F238E27FC236}">
                <a16:creationId xmlns:a16="http://schemas.microsoft.com/office/drawing/2014/main" id="{D1D85962-0D66-FE52-7E3A-010CC8239F4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020202631"/>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dirty="0"/>
              <a:t>Deploy Resources using a Solution</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2090387"/>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olutions Concept</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7" y="1237982"/>
            <a:ext cx="11242195" cy="5055427"/>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600"/>
              </a:spcAft>
            </a:pPr>
            <a:r>
              <a:rPr lang="en-US" dirty="0">
                <a:cs typeface="Segoe UI"/>
              </a:rPr>
              <a:t>Solutions are the mechanism for implementing ALM in Power Apps and Power Automate.</a:t>
            </a:r>
            <a:endParaRPr lang="en-US" dirty="0"/>
          </a:p>
          <a:p>
            <a:pPr marL="310515" indent="-310515">
              <a:spcBef>
                <a:spcPts val="600"/>
              </a:spcBef>
              <a:spcAft>
                <a:spcPts val="600"/>
              </a:spcAft>
            </a:pPr>
            <a:r>
              <a:rPr lang="en-US" dirty="0">
                <a:cs typeface="Segoe UI"/>
              </a:rPr>
              <a:t>With solutions we can transport Power Platform components from one environment to another or to apply customizations to existing apps. </a:t>
            </a:r>
            <a:endParaRPr lang="en-US" dirty="0"/>
          </a:p>
          <a:p>
            <a:pPr marL="310515" indent="-310515">
              <a:spcBef>
                <a:spcPts val="600"/>
              </a:spcBef>
              <a:spcAft>
                <a:spcPts val="600"/>
              </a:spcAft>
            </a:pPr>
            <a:r>
              <a:rPr lang="en-US" dirty="0">
                <a:cs typeface="Segoe UI"/>
              </a:rPr>
              <a:t>Can contain one or more apps and flows as well as other components such as site maps, entities, processes, web resources, option sets, and more</a:t>
            </a:r>
          </a:p>
          <a:p>
            <a:pPr marL="310515" indent="-310515">
              <a:spcBef>
                <a:spcPts val="600"/>
              </a:spcBef>
              <a:spcAft>
                <a:spcPts val="600"/>
              </a:spcAft>
            </a:pPr>
            <a:r>
              <a:rPr lang="en-US" dirty="0"/>
              <a:t>Some components are nested within other components, for example, an Dataverse table contains forms, views, charts, fields, entity relationships, messages, and business rules.</a:t>
            </a:r>
          </a:p>
        </p:txBody>
      </p:sp>
      <p:sp>
        <p:nvSpPr>
          <p:cNvPr id="4" name="Footer Placeholder 2">
            <a:extLst>
              <a:ext uri="{FF2B5EF4-FFF2-40B4-BE49-F238E27FC236}">
                <a16:creationId xmlns:a16="http://schemas.microsoft.com/office/drawing/2014/main" id="{3D4A2238-2C73-267B-8C4F-3A7BCB20808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72891669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Two types of Solutions</a:t>
            </a:r>
          </a:p>
        </p:txBody>
      </p:sp>
      <p:sp>
        <p:nvSpPr>
          <p:cNvPr id="5" name="Rectangle 4" descr="Box">
            <a:extLst>
              <a:ext uri="{FF2B5EF4-FFF2-40B4-BE49-F238E27FC236}">
                <a16:creationId xmlns:a16="http://schemas.microsoft.com/office/drawing/2014/main" id="{4E3AC68C-FAD1-4A6E-BF45-91291AC6E8FB}"/>
              </a:ext>
            </a:extLst>
          </p:cNvPr>
          <p:cNvSpPr/>
          <p:nvPr/>
        </p:nvSpPr>
        <p:spPr>
          <a:xfrm>
            <a:off x="541401" y="4022230"/>
            <a:ext cx="1510523" cy="1510523"/>
          </a:xfrm>
          <a:prstGeom prst="rect">
            <a:avLst/>
          </a:prstGeom>
          <a:blipFill>
            <a:blip r:embed="rId4">
              <a:extLst>
                <a:ext uri="{96DAC541-7B7A-43D3-8B79-37D633B846F1}">
                  <asvg:svgBlip xmlns:asvg="http://schemas.microsoft.com/office/drawing/2016/SVG/main" r:embed="rId5"/>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6" name="Rectangle 5" descr="Packing Box Open">
            <a:extLst>
              <a:ext uri="{FF2B5EF4-FFF2-40B4-BE49-F238E27FC236}">
                <a16:creationId xmlns:a16="http://schemas.microsoft.com/office/drawing/2014/main" id="{338D2F1D-7873-4406-BA85-6F1EB0392A87}"/>
              </a:ext>
            </a:extLst>
          </p:cNvPr>
          <p:cNvSpPr/>
          <p:nvPr/>
        </p:nvSpPr>
        <p:spPr>
          <a:xfrm>
            <a:off x="647560" y="1144865"/>
            <a:ext cx="1510523" cy="1510523"/>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3" name="TextBox 12">
            <a:extLst>
              <a:ext uri="{FF2B5EF4-FFF2-40B4-BE49-F238E27FC236}">
                <a16:creationId xmlns:a16="http://schemas.microsoft.com/office/drawing/2014/main" id="{C385FED5-A10C-4E1A-8767-983B2FCB1D1E}"/>
              </a:ext>
            </a:extLst>
          </p:cNvPr>
          <p:cNvSpPr txBox="1"/>
          <p:nvPr/>
        </p:nvSpPr>
        <p:spPr>
          <a:xfrm>
            <a:off x="541401" y="5517503"/>
            <a:ext cx="1483548" cy="369332"/>
          </a:xfrm>
          <a:prstGeom prst="rect">
            <a:avLst/>
          </a:prstGeom>
          <a:noFill/>
        </p:spPr>
        <p:txBody>
          <a:bodyPr wrap="none" lIns="0" tIns="0" rIns="0" bIns="0" rtlCol="0">
            <a:spAutoFit/>
          </a:bodyPr>
          <a:lstStyle/>
          <a:p>
            <a:pPr algn="l"/>
            <a:r>
              <a:rPr lang="fi-FI" sz="2400" dirty="0">
                <a:gradFill>
                  <a:gsLst>
                    <a:gs pos="2917">
                      <a:schemeClr val="tx1"/>
                    </a:gs>
                    <a:gs pos="30000">
                      <a:schemeClr val="tx1"/>
                    </a:gs>
                  </a:gsLst>
                  <a:lin ang="5400000" scaled="0"/>
                </a:gradFill>
              </a:rPr>
              <a:t>MANAGED</a:t>
            </a:r>
            <a:endParaRPr lang="LID4096" sz="2400" dirty="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A6EA0A70-A223-448A-84CC-32EFCB3A51A2}"/>
              </a:ext>
            </a:extLst>
          </p:cNvPr>
          <p:cNvSpPr txBox="1"/>
          <p:nvPr/>
        </p:nvSpPr>
        <p:spPr>
          <a:xfrm>
            <a:off x="439834" y="2683139"/>
            <a:ext cx="1925976" cy="369332"/>
          </a:xfrm>
          <a:prstGeom prst="rect">
            <a:avLst/>
          </a:prstGeom>
          <a:noFill/>
        </p:spPr>
        <p:txBody>
          <a:bodyPr wrap="none" lIns="0" tIns="0" rIns="0" bIns="0" rtlCol="0">
            <a:spAutoFit/>
          </a:bodyPr>
          <a:lstStyle/>
          <a:p>
            <a:pPr algn="l"/>
            <a:r>
              <a:rPr lang="fi-FI" sz="2400" dirty="0">
                <a:gradFill>
                  <a:gsLst>
                    <a:gs pos="2917">
                      <a:schemeClr val="tx1"/>
                    </a:gs>
                    <a:gs pos="30000">
                      <a:schemeClr val="tx1"/>
                    </a:gs>
                  </a:gsLst>
                  <a:lin ang="5400000" scaled="0"/>
                </a:gradFill>
              </a:rPr>
              <a:t>UNMANAGED</a:t>
            </a:r>
            <a:endParaRPr lang="LID4096" sz="2400" dirty="0">
              <a:gradFill>
                <a:gsLst>
                  <a:gs pos="2917">
                    <a:schemeClr val="tx1"/>
                  </a:gs>
                  <a:gs pos="30000">
                    <a:schemeClr val="tx1"/>
                  </a:gs>
                </a:gsLst>
                <a:lin ang="5400000" scaled="0"/>
              </a:gradFill>
            </a:endParaRPr>
          </a:p>
        </p:txBody>
      </p:sp>
      <p:sp>
        <p:nvSpPr>
          <p:cNvPr id="17" name="TextBox 16">
            <a:extLst>
              <a:ext uri="{FF2B5EF4-FFF2-40B4-BE49-F238E27FC236}">
                <a16:creationId xmlns:a16="http://schemas.microsoft.com/office/drawing/2014/main" id="{D78B6835-1BA1-4847-B3D6-356B11A921E4}"/>
              </a:ext>
            </a:extLst>
          </p:cNvPr>
          <p:cNvSpPr txBox="1"/>
          <p:nvPr/>
        </p:nvSpPr>
        <p:spPr>
          <a:xfrm>
            <a:off x="2485358" y="3897669"/>
            <a:ext cx="9284882" cy="2677656"/>
          </a:xfrm>
          <a:prstGeom prst="rect">
            <a:avLst/>
          </a:prstGeom>
          <a:noFill/>
        </p:spPr>
        <p:txBody>
          <a:bodyPr wrap="square" lIns="91440" tIns="45720" rIns="91440" bIns="45720" anchor="t">
            <a:spAutoFit/>
          </a:bodyPr>
          <a:lstStyle/>
          <a:p>
            <a:pPr marL="342900" lvl="0" indent="-342900" algn="l" defTabSz="755650">
              <a:lnSpc>
                <a:spcPct val="100000"/>
              </a:lnSpc>
              <a:spcBef>
                <a:spcPct val="0"/>
              </a:spcBef>
              <a:spcAft>
                <a:spcPct val="35000"/>
              </a:spcAft>
              <a:buFont typeface="Arial"/>
              <a:buChar char="•"/>
            </a:pPr>
            <a:r>
              <a:rPr lang="en-US" sz="2000" dirty="0"/>
              <a:t>C</a:t>
            </a:r>
            <a:r>
              <a:rPr lang="en-US" sz="2000" kern="1200" baseline="0" dirty="0"/>
              <a:t>omplete solution that is intended to be distributed and installed</a:t>
            </a:r>
            <a:endParaRPr lang="en-US" dirty="0"/>
          </a:p>
          <a:p>
            <a:pPr marL="342900" lvl="0" indent="-342900" algn="l" defTabSz="755650">
              <a:lnSpc>
                <a:spcPct val="100000"/>
              </a:lnSpc>
              <a:spcBef>
                <a:spcPct val="0"/>
              </a:spcBef>
              <a:spcAft>
                <a:spcPct val="35000"/>
              </a:spcAft>
              <a:buFont typeface="Arial"/>
              <a:buChar char="•"/>
            </a:pPr>
            <a:r>
              <a:rPr lang="en-US" sz="2000" kern="1200" baseline="0" dirty="0"/>
              <a:t>Components can’t be added or removed</a:t>
            </a:r>
            <a:endParaRPr lang="en-US" sz="2000" kern="1200" baseline="0" dirty="0">
              <a:cs typeface="Segoe UI"/>
            </a:endParaRPr>
          </a:p>
          <a:p>
            <a:pPr marL="342900" lvl="0" indent="-342900" algn="l" defTabSz="755650">
              <a:lnSpc>
                <a:spcPct val="100000"/>
              </a:lnSpc>
              <a:spcBef>
                <a:spcPct val="0"/>
              </a:spcBef>
              <a:spcAft>
                <a:spcPct val="35000"/>
              </a:spcAft>
              <a:buFont typeface="Arial"/>
              <a:buChar char="•"/>
            </a:pPr>
            <a:r>
              <a:rPr lang="en-US" sz="2000" dirty="0"/>
              <a:t>Cannot be exported</a:t>
            </a:r>
            <a:endParaRPr lang="en-US" sz="2000" dirty="0">
              <a:cs typeface="Segoe UI"/>
            </a:endParaRPr>
          </a:p>
          <a:p>
            <a:pPr marL="342900" lvl="0" indent="-342900" algn="l" defTabSz="755650">
              <a:lnSpc>
                <a:spcPct val="100000"/>
              </a:lnSpc>
              <a:spcBef>
                <a:spcPct val="0"/>
              </a:spcBef>
              <a:spcAft>
                <a:spcPct val="35000"/>
              </a:spcAft>
              <a:buFont typeface="Arial"/>
              <a:buChar char="•"/>
            </a:pPr>
            <a:r>
              <a:rPr lang="en-US" sz="2000" dirty="0"/>
              <a:t>Some changes can be done to components if explicitly allowed using managed properties</a:t>
            </a:r>
            <a:endParaRPr lang="en-US" sz="2000" dirty="0">
              <a:cs typeface="Segoe UI"/>
            </a:endParaRPr>
          </a:p>
          <a:p>
            <a:pPr marL="342900" lvl="0" indent="-342900" algn="l" defTabSz="755650">
              <a:lnSpc>
                <a:spcPct val="100000"/>
              </a:lnSpc>
              <a:spcBef>
                <a:spcPct val="0"/>
              </a:spcBef>
              <a:spcAft>
                <a:spcPct val="35000"/>
              </a:spcAft>
              <a:buFont typeface="Arial"/>
              <a:buChar char="•"/>
            </a:pPr>
            <a:r>
              <a:rPr lang="en-US" sz="2000" kern="1200" dirty="0"/>
              <a:t>When a managed solution is deleted (uninstalled), all the customizations and extensions included with it are removed.</a:t>
            </a:r>
            <a:endParaRPr lang="en-US" sz="2000" kern="1200" dirty="0">
              <a:cs typeface="Segoe UI"/>
            </a:endParaRPr>
          </a:p>
        </p:txBody>
      </p:sp>
      <p:sp>
        <p:nvSpPr>
          <p:cNvPr id="19" name="TextBox 18">
            <a:extLst>
              <a:ext uri="{FF2B5EF4-FFF2-40B4-BE49-F238E27FC236}">
                <a16:creationId xmlns:a16="http://schemas.microsoft.com/office/drawing/2014/main" id="{9A723893-0B78-4002-8D40-8386747D05F0}"/>
              </a:ext>
            </a:extLst>
          </p:cNvPr>
          <p:cNvSpPr txBox="1"/>
          <p:nvPr/>
        </p:nvSpPr>
        <p:spPr>
          <a:xfrm>
            <a:off x="2485358" y="1261447"/>
            <a:ext cx="9444371" cy="2185214"/>
          </a:xfrm>
          <a:prstGeom prst="rect">
            <a:avLst/>
          </a:prstGeom>
          <a:noFill/>
        </p:spPr>
        <p:txBody>
          <a:bodyPr wrap="square" lIns="91440" tIns="45720" rIns="91440" bIns="45720" anchor="t">
            <a:spAutoFit/>
          </a:bodyPr>
          <a:lstStyle/>
          <a:p>
            <a:pPr marL="342900" indent="-342900" defTabSz="755650">
              <a:lnSpc>
                <a:spcPct val="90000"/>
              </a:lnSpc>
              <a:spcBef>
                <a:spcPct val="0"/>
              </a:spcBef>
              <a:spcAft>
                <a:spcPct val="35000"/>
              </a:spcAft>
              <a:buFont typeface="Arial"/>
              <a:buChar char="•"/>
            </a:pPr>
            <a:r>
              <a:rPr lang="en-US" sz="2000" dirty="0"/>
              <a:t>U</a:t>
            </a:r>
            <a:r>
              <a:rPr lang="en-US" sz="2000" kern="1200" baseline="0" dirty="0"/>
              <a:t>sed in development environments while you make changes to your application</a:t>
            </a:r>
            <a:endParaRPr lang="en-US" dirty="0"/>
          </a:p>
          <a:p>
            <a:pPr marL="342900" indent="-342900" defTabSz="755650">
              <a:lnSpc>
                <a:spcPct val="90000"/>
              </a:lnSpc>
              <a:spcBef>
                <a:spcPct val="0"/>
              </a:spcBef>
              <a:spcAft>
                <a:spcPct val="35000"/>
              </a:spcAft>
              <a:buFont typeface="Arial"/>
              <a:buChar char="•"/>
            </a:pPr>
            <a:r>
              <a:rPr lang="en-US" sz="2000" kern="1200" baseline="0" dirty="0"/>
              <a:t>No restrictions on what can be added, removed, or modified</a:t>
            </a:r>
            <a:endParaRPr lang="en-US" sz="2000" kern="1200" baseline="0" dirty="0">
              <a:cs typeface="Segoe UI"/>
            </a:endParaRPr>
          </a:p>
          <a:p>
            <a:pPr marL="342900" indent="-342900" defTabSz="755650">
              <a:lnSpc>
                <a:spcPct val="90000"/>
              </a:lnSpc>
              <a:spcBef>
                <a:spcPct val="0"/>
              </a:spcBef>
              <a:spcAft>
                <a:spcPct val="35000"/>
              </a:spcAft>
              <a:buFont typeface="Arial"/>
              <a:buChar char="•"/>
            </a:pPr>
            <a:r>
              <a:rPr lang="en-US" sz="2000" kern="1200" baseline="0" dirty="0"/>
              <a:t>Can be exported as </a:t>
            </a:r>
            <a:r>
              <a:rPr lang="en-US" sz="2000" kern="1200" baseline="0" dirty="0">
                <a:solidFill>
                  <a:schemeClr val="accent5"/>
                </a:solidFill>
              </a:rPr>
              <a:t>unmanaged</a:t>
            </a:r>
            <a:r>
              <a:rPr lang="en-US" sz="2000" kern="1200" baseline="0" dirty="0"/>
              <a:t> or </a:t>
            </a:r>
            <a:r>
              <a:rPr lang="en-US" sz="2000" kern="1200" baseline="0" dirty="0">
                <a:solidFill>
                  <a:schemeClr val="accent5"/>
                </a:solidFill>
              </a:rPr>
              <a:t>managed</a:t>
            </a:r>
            <a:endParaRPr lang="en-US" sz="2000" kern="1200" baseline="0" dirty="0">
              <a:solidFill>
                <a:schemeClr val="accent5"/>
              </a:solidFill>
              <a:cs typeface="Segoe UI"/>
            </a:endParaRPr>
          </a:p>
          <a:p>
            <a:pPr marL="342900" lvl="0" indent="-342900" algn="l" defTabSz="755650">
              <a:lnSpc>
                <a:spcPct val="90000"/>
              </a:lnSpc>
              <a:spcBef>
                <a:spcPct val="0"/>
              </a:spcBef>
              <a:spcAft>
                <a:spcPct val="35000"/>
              </a:spcAft>
              <a:buFont typeface="Arial" panose="020B0604020202020204" pitchFamily="34" charset="0"/>
              <a:buChar char="•"/>
            </a:pPr>
            <a:r>
              <a:rPr lang="en-US" sz="2000" kern="1200" baseline="0" dirty="0"/>
              <a:t>Should be checked into your source control system</a:t>
            </a:r>
            <a:endParaRPr lang="en-US" sz="2000" kern="1200" baseline="0" dirty="0">
              <a:cs typeface="Segoe UI"/>
            </a:endParaRPr>
          </a:p>
          <a:p>
            <a:pPr marL="342900" indent="-342900" defTabSz="755650">
              <a:lnSpc>
                <a:spcPct val="90000"/>
              </a:lnSpc>
              <a:spcBef>
                <a:spcPct val="0"/>
              </a:spcBef>
              <a:spcAft>
                <a:spcPct val="35000"/>
              </a:spcAft>
              <a:buFont typeface="Arial"/>
              <a:buChar char="•"/>
            </a:pPr>
            <a:r>
              <a:rPr lang="en-US" sz="2000" dirty="0"/>
              <a:t>You can’t delete its components by uninstalling the solution</a:t>
            </a:r>
            <a:endParaRPr lang="en-US" sz="2000" kern="1200" dirty="0">
              <a:cs typeface="Segoe UI"/>
            </a:endParaRPr>
          </a:p>
        </p:txBody>
      </p:sp>
      <p:sp>
        <p:nvSpPr>
          <p:cNvPr id="2" name="Footer Placeholder 2">
            <a:extLst>
              <a:ext uri="{FF2B5EF4-FFF2-40B4-BE49-F238E27FC236}">
                <a16:creationId xmlns:a16="http://schemas.microsoft.com/office/drawing/2014/main" id="{28F2F331-61FC-E03B-9A67-5F2C310945B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358999324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7" grpId="0"/>
      <p:bldP spid="1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olution Lifecycle</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1242195" cy="5219521"/>
          </a:xfrm>
        </p:spPr>
        <p:txBody>
          <a:bodyPr>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buNone/>
            </a:pPr>
            <a:r>
              <a:rPr lang="en-US" sz="2000" b="1" dirty="0"/>
              <a:t>Create</a:t>
            </a:r>
            <a:r>
              <a:rPr lang="en-US" sz="2000" dirty="0"/>
              <a:t> </a:t>
            </a:r>
          </a:p>
          <a:p>
            <a:pPr lvl="1">
              <a:spcBef>
                <a:spcPts val="0"/>
              </a:spcBef>
            </a:pPr>
            <a:r>
              <a:rPr lang="en-US" sz="1800" dirty="0"/>
              <a:t>Author and export unmanaged solutions</a:t>
            </a:r>
          </a:p>
          <a:p>
            <a:pPr marL="0" indent="0">
              <a:spcBef>
                <a:spcPts val="0"/>
              </a:spcBef>
              <a:buNone/>
            </a:pPr>
            <a:endParaRPr lang="en-US" sz="2000" dirty="0"/>
          </a:p>
          <a:p>
            <a:pPr marL="0" indent="0">
              <a:spcBef>
                <a:spcPts val="0"/>
              </a:spcBef>
              <a:buNone/>
            </a:pPr>
            <a:r>
              <a:rPr lang="en-US" sz="2000" b="1" dirty="0"/>
              <a:t>Update</a:t>
            </a:r>
            <a:endParaRPr lang="en-US" sz="2000" dirty="0"/>
          </a:p>
          <a:p>
            <a:pPr lvl="1">
              <a:spcBef>
                <a:spcPts val="0"/>
              </a:spcBef>
            </a:pPr>
            <a:r>
              <a:rPr lang="en-US" sz="1800" dirty="0"/>
              <a:t>Create updates to a managed solution that are deployed to the parent managed solution</a:t>
            </a:r>
          </a:p>
          <a:p>
            <a:pPr lvl="1">
              <a:spcBef>
                <a:spcPts val="0"/>
              </a:spcBef>
            </a:pPr>
            <a:r>
              <a:rPr lang="en-US" sz="1800" dirty="0"/>
              <a:t>You can't delete components with an update</a:t>
            </a:r>
          </a:p>
          <a:p>
            <a:pPr>
              <a:spcBef>
                <a:spcPts val="0"/>
              </a:spcBef>
            </a:pPr>
            <a:endParaRPr lang="en-US" sz="2000" dirty="0"/>
          </a:p>
          <a:p>
            <a:pPr marL="0" indent="0">
              <a:spcBef>
                <a:spcPts val="0"/>
              </a:spcBef>
              <a:buNone/>
            </a:pPr>
            <a:r>
              <a:rPr lang="en-US" sz="2000" b="1" dirty="0"/>
              <a:t>Upgrade</a:t>
            </a:r>
          </a:p>
          <a:p>
            <a:pPr lvl="1">
              <a:spcBef>
                <a:spcPts val="0"/>
              </a:spcBef>
            </a:pPr>
            <a:r>
              <a:rPr lang="en-US" sz="1800" dirty="0"/>
              <a:t>Upgrade an existing managed solution</a:t>
            </a:r>
          </a:p>
          <a:p>
            <a:pPr lvl="1">
              <a:spcBef>
                <a:spcPts val="0"/>
              </a:spcBef>
            </a:pPr>
            <a:r>
              <a:rPr lang="en-US" sz="1800" dirty="0"/>
              <a:t>Involve rolling up (merging) all patches to the solution into a new version of the solution </a:t>
            </a:r>
          </a:p>
          <a:p>
            <a:pPr lvl="1">
              <a:spcBef>
                <a:spcPts val="0"/>
              </a:spcBef>
            </a:pPr>
            <a:r>
              <a:rPr lang="en-US" sz="1800" dirty="0"/>
              <a:t>Will delete components that existed but are no longer included in the upgraded version </a:t>
            </a:r>
          </a:p>
          <a:p>
            <a:pPr lvl="1">
              <a:spcBef>
                <a:spcPts val="0"/>
              </a:spcBef>
            </a:pPr>
            <a:r>
              <a:rPr lang="en-US" sz="1800" dirty="0"/>
              <a:t>You can choose to upgrade immediately or to stage the upgrade so that you can do some additional actions prior to completing the upgrade</a:t>
            </a:r>
          </a:p>
          <a:p>
            <a:pPr marL="0" indent="0">
              <a:spcBef>
                <a:spcPts val="0"/>
              </a:spcBef>
              <a:buNone/>
            </a:pPr>
            <a:endParaRPr lang="en-US" sz="2000" dirty="0"/>
          </a:p>
          <a:p>
            <a:pPr marL="0" indent="0">
              <a:spcBef>
                <a:spcPts val="0"/>
              </a:spcBef>
              <a:buNone/>
            </a:pPr>
            <a:r>
              <a:rPr lang="en-US" sz="2000" b="1" dirty="0"/>
              <a:t>Patch</a:t>
            </a:r>
          </a:p>
          <a:p>
            <a:pPr lvl="1">
              <a:spcBef>
                <a:spcPts val="0"/>
              </a:spcBef>
            </a:pPr>
            <a:r>
              <a:rPr lang="en-US" sz="1800" dirty="0"/>
              <a:t>Contains only the changes such as adding or editing components and assets. </a:t>
            </a:r>
          </a:p>
          <a:p>
            <a:pPr lvl="1">
              <a:spcBef>
                <a:spcPts val="0"/>
              </a:spcBef>
            </a:pPr>
            <a:r>
              <a:rPr lang="en-US" sz="1800" dirty="0"/>
              <a:t>Use patches when making small updates (similar to a hotfix)</a:t>
            </a:r>
          </a:p>
          <a:p>
            <a:pPr lvl="1">
              <a:spcBef>
                <a:spcPts val="0"/>
              </a:spcBef>
            </a:pPr>
            <a:r>
              <a:rPr lang="en-US" sz="1800" dirty="0"/>
              <a:t>You can't delete components with a patch.</a:t>
            </a:r>
          </a:p>
        </p:txBody>
      </p:sp>
      <p:sp>
        <p:nvSpPr>
          <p:cNvPr id="2" name="Footer Placeholder 2">
            <a:extLst>
              <a:ext uri="{FF2B5EF4-FFF2-40B4-BE49-F238E27FC236}">
                <a16:creationId xmlns:a16="http://schemas.microsoft.com/office/drawing/2014/main" id="{948F64C0-62A2-DDB0-F9D5-15B292A4A82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6132450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anim calcmode="lin" valueType="num">
                                      <p:cBhvr additive="base">
                                        <p:cTn id="7"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3" end="3"/>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xEl>
                                              <p:pRg st="4" end="4"/>
                                            </p:txEl>
                                          </p:spTgt>
                                        </p:tgtEl>
                                        <p:attrNameLst>
                                          <p:attrName>style.visibility</p:attrName>
                                        </p:attrNameLst>
                                      </p:cBhvr>
                                      <p:to>
                                        <p:strVal val="visible"/>
                                      </p:to>
                                    </p:set>
                                    <p:anim calcmode="lin" valueType="num">
                                      <p:cBhvr additive="base">
                                        <p:cTn id="11"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txEl>
                                              <p:pRg st="4" end="4"/>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anim calcmode="lin" valueType="num">
                                      <p:cBhvr additive="base">
                                        <p:cTn id="15"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9">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anim calcmode="lin" valueType="num">
                                      <p:cBhvr additive="base">
                                        <p:cTn id="21"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9">
                                            <p:txEl>
                                              <p:pRg st="7" end="7"/>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9">
                                            <p:txEl>
                                              <p:pRg st="8" end="8"/>
                                            </p:txEl>
                                          </p:spTgt>
                                        </p:tgtEl>
                                        <p:attrNameLst>
                                          <p:attrName>style.visibility</p:attrName>
                                        </p:attrNameLst>
                                      </p:cBhvr>
                                      <p:to>
                                        <p:strVal val="visible"/>
                                      </p:to>
                                    </p:set>
                                    <p:anim calcmode="lin" valueType="num">
                                      <p:cBhvr additive="base">
                                        <p:cTn id="25" dur="500" fill="hold"/>
                                        <p:tgtEl>
                                          <p:spTgt spid="9">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8" end="8"/>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9">
                                            <p:txEl>
                                              <p:pRg st="9" end="9"/>
                                            </p:txEl>
                                          </p:spTgt>
                                        </p:tgtEl>
                                        <p:attrNameLst>
                                          <p:attrName>style.visibility</p:attrName>
                                        </p:attrNameLst>
                                      </p:cBhvr>
                                      <p:to>
                                        <p:strVal val="visible"/>
                                      </p:to>
                                    </p:set>
                                    <p:anim calcmode="lin" valueType="num">
                                      <p:cBhvr additive="base">
                                        <p:cTn id="29" dur="500" fill="hold"/>
                                        <p:tgtEl>
                                          <p:spTgt spid="9">
                                            <p:txEl>
                                              <p:pRg st="9" end="9"/>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9">
                                            <p:txEl>
                                              <p:pRg st="9" end="9"/>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9">
                                            <p:txEl>
                                              <p:pRg st="10" end="10"/>
                                            </p:txEl>
                                          </p:spTgt>
                                        </p:tgtEl>
                                        <p:attrNameLst>
                                          <p:attrName>style.visibility</p:attrName>
                                        </p:attrNameLst>
                                      </p:cBhvr>
                                      <p:to>
                                        <p:strVal val="visible"/>
                                      </p:to>
                                    </p:set>
                                    <p:anim calcmode="lin" valueType="num">
                                      <p:cBhvr additive="base">
                                        <p:cTn id="33" dur="500" fill="hold"/>
                                        <p:tgtEl>
                                          <p:spTgt spid="9">
                                            <p:txEl>
                                              <p:pRg st="10" end="1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9">
                                            <p:txEl>
                                              <p:pRg st="10" end="10"/>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9">
                                            <p:txEl>
                                              <p:pRg st="11" end="11"/>
                                            </p:txEl>
                                          </p:spTgt>
                                        </p:tgtEl>
                                        <p:attrNameLst>
                                          <p:attrName>style.visibility</p:attrName>
                                        </p:attrNameLst>
                                      </p:cBhvr>
                                      <p:to>
                                        <p:strVal val="visible"/>
                                      </p:to>
                                    </p:set>
                                    <p:anim calcmode="lin" valueType="num">
                                      <p:cBhvr additive="base">
                                        <p:cTn id="37" dur="500" fill="hold"/>
                                        <p:tgtEl>
                                          <p:spTgt spid="9">
                                            <p:txEl>
                                              <p:pRg st="11" end="11"/>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9">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9">
                                            <p:txEl>
                                              <p:pRg st="13" end="13"/>
                                            </p:txEl>
                                          </p:spTgt>
                                        </p:tgtEl>
                                        <p:attrNameLst>
                                          <p:attrName>style.visibility</p:attrName>
                                        </p:attrNameLst>
                                      </p:cBhvr>
                                      <p:to>
                                        <p:strVal val="visible"/>
                                      </p:to>
                                    </p:set>
                                    <p:anim calcmode="lin" valueType="num">
                                      <p:cBhvr additive="base">
                                        <p:cTn id="43" dur="500" fill="hold"/>
                                        <p:tgtEl>
                                          <p:spTgt spid="9">
                                            <p:txEl>
                                              <p:pRg st="13" end="13"/>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9">
                                            <p:txEl>
                                              <p:pRg st="13" end="13"/>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9">
                                            <p:txEl>
                                              <p:pRg st="14" end="14"/>
                                            </p:txEl>
                                          </p:spTgt>
                                        </p:tgtEl>
                                        <p:attrNameLst>
                                          <p:attrName>style.visibility</p:attrName>
                                        </p:attrNameLst>
                                      </p:cBhvr>
                                      <p:to>
                                        <p:strVal val="visible"/>
                                      </p:to>
                                    </p:set>
                                    <p:anim calcmode="lin" valueType="num">
                                      <p:cBhvr additive="base">
                                        <p:cTn id="47" dur="500" fill="hold"/>
                                        <p:tgtEl>
                                          <p:spTgt spid="9">
                                            <p:txEl>
                                              <p:pRg st="14" end="14"/>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9">
                                            <p:txEl>
                                              <p:pRg st="14" end="14"/>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9">
                                            <p:txEl>
                                              <p:pRg st="15" end="15"/>
                                            </p:txEl>
                                          </p:spTgt>
                                        </p:tgtEl>
                                        <p:attrNameLst>
                                          <p:attrName>style.visibility</p:attrName>
                                        </p:attrNameLst>
                                      </p:cBhvr>
                                      <p:to>
                                        <p:strVal val="visible"/>
                                      </p:to>
                                    </p:set>
                                    <p:anim calcmode="lin" valueType="num">
                                      <p:cBhvr additive="base">
                                        <p:cTn id="51" dur="500" fill="hold"/>
                                        <p:tgtEl>
                                          <p:spTgt spid="9">
                                            <p:txEl>
                                              <p:pRg st="15" end="15"/>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9">
                                            <p:txEl>
                                              <p:pRg st="15" end="15"/>
                                            </p:txEl>
                                          </p:spTgt>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9">
                                            <p:txEl>
                                              <p:pRg st="16" end="16"/>
                                            </p:txEl>
                                          </p:spTgt>
                                        </p:tgtEl>
                                        <p:attrNameLst>
                                          <p:attrName>style.visibility</p:attrName>
                                        </p:attrNameLst>
                                      </p:cBhvr>
                                      <p:to>
                                        <p:strVal val="visible"/>
                                      </p:to>
                                    </p:set>
                                    <p:anim calcmode="lin" valueType="num">
                                      <p:cBhvr additive="base">
                                        <p:cTn id="55" dur="500" fill="hold"/>
                                        <p:tgtEl>
                                          <p:spTgt spid="9">
                                            <p:txEl>
                                              <p:pRg st="16" end="16"/>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9">
                                            <p:txEl>
                                              <p:pRg st="16" end="1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olution Publisher</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6659563"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1200"/>
              </a:spcBef>
              <a:spcAft>
                <a:spcPts val="1200"/>
              </a:spcAft>
            </a:pPr>
            <a:r>
              <a:rPr lang="en-US" sz="2000" dirty="0">
                <a:cs typeface="Segoe UI"/>
              </a:rPr>
              <a:t>The publisher of a solution where a component is created is considered the </a:t>
            </a:r>
            <a:r>
              <a:rPr lang="en-US" sz="2000" u="sng" dirty="0">
                <a:cs typeface="Segoe UI"/>
              </a:rPr>
              <a:t>owner of that component.</a:t>
            </a:r>
            <a:endParaRPr lang="en-US" sz="2000" dirty="0"/>
          </a:p>
          <a:p>
            <a:pPr marL="310515" indent="-310515">
              <a:spcBef>
                <a:spcPts val="1200"/>
              </a:spcBef>
              <a:spcAft>
                <a:spcPts val="1200"/>
              </a:spcAft>
            </a:pPr>
            <a:r>
              <a:rPr lang="en-US" sz="2000" dirty="0">
                <a:cs typeface="Segoe UI"/>
              </a:rPr>
              <a:t>Owner controls what changes other publishers of solutions including that component are allowed to make or restricted from making</a:t>
            </a:r>
          </a:p>
          <a:p>
            <a:pPr marL="310515" indent="-310515">
              <a:spcBef>
                <a:spcPts val="1200"/>
              </a:spcBef>
              <a:spcAft>
                <a:spcPts val="1200"/>
              </a:spcAft>
            </a:pPr>
            <a:r>
              <a:rPr lang="en-US" sz="2000" dirty="0">
                <a:cs typeface="Segoe UI"/>
              </a:rPr>
              <a:t>Every solution has a publisher, you should create your own publisher rather than use the default. Publisher is specified when you create a solution.</a:t>
            </a:r>
            <a:endParaRPr lang="en-US" sz="2000" dirty="0"/>
          </a:p>
          <a:p>
            <a:pPr marL="310515" indent="-310515">
              <a:spcBef>
                <a:spcPts val="1200"/>
              </a:spcBef>
              <a:spcAft>
                <a:spcPts val="1200"/>
              </a:spcAft>
            </a:pPr>
            <a:r>
              <a:rPr lang="en-US" sz="2000" b="0" i="0" dirty="0">
                <a:solidFill>
                  <a:srgbClr val="171717"/>
                </a:solidFill>
                <a:effectLst/>
                <a:latin typeface="Segoe UI"/>
                <a:cs typeface="Segoe UI"/>
              </a:rPr>
              <a:t>It is possible to move the ownership of a component from one solution to another within the same publisher but not across publishers</a:t>
            </a:r>
            <a:r>
              <a:rPr lang="en-US" sz="2000" dirty="0">
                <a:solidFill>
                  <a:srgbClr val="171717"/>
                </a:solidFill>
                <a:latin typeface="Segoe UI"/>
                <a:cs typeface="Segoe UI"/>
              </a:rPr>
              <a:t>.</a:t>
            </a:r>
            <a:endParaRPr lang="en-US" sz="2000" b="0" i="0" dirty="0">
              <a:solidFill>
                <a:srgbClr val="171717"/>
              </a:solidFill>
              <a:effectLst/>
              <a:latin typeface="Segoe UI" panose="020B0502040204020203" pitchFamily="34" charset="0"/>
            </a:endParaRPr>
          </a:p>
          <a:p>
            <a:pPr marL="310515" indent="-310515">
              <a:spcBef>
                <a:spcPts val="1200"/>
              </a:spcBef>
              <a:spcAft>
                <a:spcPts val="1200"/>
              </a:spcAft>
            </a:pPr>
            <a:r>
              <a:rPr lang="en-US" sz="2000" b="0" i="0" dirty="0">
                <a:solidFill>
                  <a:srgbClr val="171717"/>
                </a:solidFill>
                <a:effectLst/>
                <a:latin typeface="Segoe UI"/>
                <a:cs typeface="Segoe UI"/>
              </a:rPr>
              <a:t>A solution publisher includes a prefix which is a mechanism to help avoid naming collisions</a:t>
            </a:r>
            <a:r>
              <a:rPr lang="en-US" sz="2000" dirty="0">
                <a:solidFill>
                  <a:srgbClr val="171717"/>
                </a:solidFill>
                <a:latin typeface="Segoe UI"/>
                <a:cs typeface="Segoe UI"/>
              </a:rPr>
              <a:t>.</a:t>
            </a:r>
            <a:endParaRPr lang="en-US" sz="2000" b="0" i="0" dirty="0">
              <a:solidFill>
                <a:srgbClr val="171717"/>
              </a:solidFill>
              <a:effectLst/>
              <a:latin typeface="Segoe UI" panose="020B0502040204020203" pitchFamily="34" charset="0"/>
            </a:endParaRPr>
          </a:p>
          <a:p>
            <a:pPr marL="0" indent="0">
              <a:spcBef>
                <a:spcPts val="0"/>
              </a:spcBef>
              <a:buNone/>
            </a:pPr>
            <a:endParaRPr lang="en-US" sz="2000" dirty="0"/>
          </a:p>
        </p:txBody>
      </p:sp>
      <p:pic>
        <p:nvPicPr>
          <p:cNvPr id="11" name="Picture 10">
            <a:extLst>
              <a:ext uri="{FF2B5EF4-FFF2-40B4-BE49-F238E27FC236}">
                <a16:creationId xmlns:a16="http://schemas.microsoft.com/office/drawing/2014/main" id="{8A062F14-6D3B-4E55-A2A9-C36CCB62DF6D}"/>
              </a:ext>
            </a:extLst>
          </p:cNvPr>
          <p:cNvPicPr>
            <a:picLocks noChangeAspect="1"/>
          </p:cNvPicPr>
          <p:nvPr/>
        </p:nvPicPr>
        <p:blipFill>
          <a:blip r:embed="rId5"/>
          <a:stretch>
            <a:fillRect/>
          </a:stretch>
        </p:blipFill>
        <p:spPr>
          <a:xfrm>
            <a:off x="7850083" y="2509284"/>
            <a:ext cx="2177771" cy="3225096"/>
          </a:xfrm>
          <a:prstGeom prst="rect">
            <a:avLst/>
          </a:prstGeom>
        </p:spPr>
      </p:pic>
      <p:pic>
        <p:nvPicPr>
          <p:cNvPr id="8" name="Picture 7">
            <a:extLst>
              <a:ext uri="{FF2B5EF4-FFF2-40B4-BE49-F238E27FC236}">
                <a16:creationId xmlns:a16="http://schemas.microsoft.com/office/drawing/2014/main" id="{2965CB63-4A85-492B-91D1-B125EB3CA82E}"/>
              </a:ext>
            </a:extLst>
          </p:cNvPr>
          <p:cNvPicPr>
            <a:picLocks noChangeAspect="1"/>
          </p:cNvPicPr>
          <p:nvPr/>
        </p:nvPicPr>
        <p:blipFill>
          <a:blip r:embed="rId6"/>
          <a:stretch>
            <a:fillRect/>
          </a:stretch>
        </p:blipFill>
        <p:spPr>
          <a:xfrm>
            <a:off x="9817316" y="3120417"/>
            <a:ext cx="2035648" cy="3737583"/>
          </a:xfrm>
          <a:prstGeom prst="rect">
            <a:avLst/>
          </a:prstGeom>
        </p:spPr>
      </p:pic>
      <p:sp>
        <p:nvSpPr>
          <p:cNvPr id="12" name="Rectangle 11">
            <a:extLst>
              <a:ext uri="{FF2B5EF4-FFF2-40B4-BE49-F238E27FC236}">
                <a16:creationId xmlns:a16="http://schemas.microsoft.com/office/drawing/2014/main" id="{A738DFA8-CF34-4F36-AC39-A6A81C12D893}"/>
              </a:ext>
            </a:extLst>
          </p:cNvPr>
          <p:cNvSpPr/>
          <p:nvPr/>
        </p:nvSpPr>
        <p:spPr bwMode="auto">
          <a:xfrm>
            <a:off x="7958868" y="4497571"/>
            <a:ext cx="969467" cy="265814"/>
          </a:xfrm>
          <a:prstGeom prst="rect">
            <a:avLst/>
          </a:prstGeom>
          <a:noFill/>
          <a:ln w="1905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LID4096"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20C62DBC-ACDA-461E-A5BA-422EA8B76EB7}"/>
              </a:ext>
            </a:extLst>
          </p:cNvPr>
          <p:cNvPicPr>
            <a:picLocks noChangeAspect="1"/>
          </p:cNvPicPr>
          <p:nvPr/>
        </p:nvPicPr>
        <p:blipFill>
          <a:blip r:embed="rId7"/>
          <a:stretch>
            <a:fillRect/>
          </a:stretch>
        </p:blipFill>
        <p:spPr>
          <a:xfrm>
            <a:off x="7442632" y="1052624"/>
            <a:ext cx="4749368" cy="1456660"/>
          </a:xfrm>
          <a:prstGeom prst="rect">
            <a:avLst/>
          </a:prstGeom>
        </p:spPr>
      </p:pic>
      <p:sp>
        <p:nvSpPr>
          <p:cNvPr id="2" name="Footer Placeholder 2">
            <a:extLst>
              <a:ext uri="{FF2B5EF4-FFF2-40B4-BE49-F238E27FC236}">
                <a16:creationId xmlns:a16="http://schemas.microsoft.com/office/drawing/2014/main" id="{2A1CE667-4AE1-1D16-6240-BD49E8E887C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82375940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 calcmode="lin" valueType="num">
                                      <p:cBhvr additive="base">
                                        <p:cTn id="7"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 calcmode="lin" valueType="num">
                                      <p:cBhvr additive="base">
                                        <p:cTn id="13"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anim calcmode="lin" valueType="num">
                                      <p:cBhvr additive="base">
                                        <p:cTn id="25"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olution Dependencie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0880725"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1200"/>
              </a:spcBef>
              <a:spcAft>
                <a:spcPts val="1200"/>
              </a:spcAft>
            </a:pPr>
            <a:r>
              <a:rPr lang="en-US" sz="2200" dirty="0">
                <a:cs typeface="Segoe UI"/>
              </a:rPr>
              <a:t>Because of the way that managed solutions are layered, </a:t>
            </a:r>
            <a:r>
              <a:rPr lang="en-US" sz="2200" u="sng" dirty="0">
                <a:cs typeface="Segoe UI"/>
              </a:rPr>
              <a:t>some managed solutions can be dependent on solution components in other managed solutions.</a:t>
            </a:r>
            <a:endParaRPr lang="en-US" sz="2200" dirty="0"/>
          </a:p>
          <a:p>
            <a:pPr marL="310515" indent="-310515">
              <a:spcBef>
                <a:spcPts val="1200"/>
              </a:spcBef>
              <a:spcAft>
                <a:spcPts val="1200"/>
              </a:spcAft>
            </a:pPr>
            <a:r>
              <a:rPr lang="en-US" sz="2200" dirty="0">
                <a:cs typeface="Segoe UI"/>
              </a:rPr>
              <a:t>Solution publishers can take advantage of this to build solutions that are modular.</a:t>
            </a:r>
            <a:endParaRPr lang="en-US" sz="2200" dirty="0"/>
          </a:p>
          <a:p>
            <a:pPr marL="310515" indent="-310515">
              <a:spcBef>
                <a:spcPts val="1200"/>
              </a:spcBef>
              <a:spcAft>
                <a:spcPts val="1200"/>
              </a:spcAft>
            </a:pPr>
            <a:r>
              <a:rPr lang="en-US" sz="2200" dirty="0">
                <a:cs typeface="Segoe UI"/>
              </a:rPr>
              <a:t>You may need to install a “base” managed solution first, and then you can install a second managed solution that will further customize the components in the base managed solution.</a:t>
            </a:r>
          </a:p>
          <a:p>
            <a:pPr marL="310515" indent="-310515">
              <a:spcBef>
                <a:spcPts val="1200"/>
              </a:spcBef>
              <a:spcAft>
                <a:spcPts val="1200"/>
              </a:spcAft>
            </a:pPr>
            <a:r>
              <a:rPr lang="en-US" sz="2200" dirty="0">
                <a:cs typeface="Segoe UI"/>
              </a:rPr>
              <a:t>The second managed solution depends on solution components that are part of the first solution.</a:t>
            </a:r>
            <a:endParaRPr lang="en-US" sz="2200" dirty="0"/>
          </a:p>
          <a:p>
            <a:pPr marL="310515" indent="-310515">
              <a:spcBef>
                <a:spcPts val="1200"/>
              </a:spcBef>
              <a:spcAft>
                <a:spcPts val="1200"/>
              </a:spcAft>
            </a:pPr>
            <a:r>
              <a:rPr lang="en-US" sz="2200" b="0" i="0" dirty="0">
                <a:solidFill>
                  <a:srgbClr val="171717"/>
                </a:solidFill>
                <a:effectLst/>
                <a:latin typeface="Segoe UI"/>
                <a:cs typeface="Segoe UI"/>
              </a:rPr>
              <a:t>The system tracks these dependencies between solutions. If you try to install a solution that requires a base solution that isn’t installed, you won’t be able to install the solution</a:t>
            </a:r>
            <a:r>
              <a:rPr lang="en-US" sz="2200" dirty="0">
                <a:solidFill>
                  <a:srgbClr val="171717"/>
                </a:solidFill>
                <a:latin typeface="Segoe UI"/>
                <a:cs typeface="Segoe UI"/>
              </a:rPr>
              <a:t>.</a:t>
            </a:r>
            <a:endParaRPr lang="en-US" sz="2200" dirty="0"/>
          </a:p>
        </p:txBody>
      </p:sp>
      <p:sp>
        <p:nvSpPr>
          <p:cNvPr id="2" name="Footer Placeholder 2">
            <a:extLst>
              <a:ext uri="{FF2B5EF4-FFF2-40B4-BE49-F238E27FC236}">
                <a16:creationId xmlns:a16="http://schemas.microsoft.com/office/drawing/2014/main" id="{495AC94E-E583-7B22-5D67-24227F39263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5169463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 calcmode="lin" valueType="num">
                                      <p:cBhvr additive="base">
                                        <p:cTn id="7"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 calcmode="lin" valueType="num">
                                      <p:cBhvr additive="base">
                                        <p:cTn id="13"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anim calcmode="lin" valueType="num">
                                      <p:cBhvr additive="base">
                                        <p:cTn id="25"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150000"/>
              </a:lnSpc>
              <a:spcAft>
                <a:spcPts val="333"/>
              </a:spcAft>
              <a:defRPr/>
            </a:pPr>
            <a:r>
              <a:rPr lang="en-US" noProof="1">
                <a:solidFill>
                  <a:schemeClr val="tx1"/>
                </a:solidFill>
                <a:latin typeface="Segoe UI Light" pitchFamily="34" charset="0"/>
              </a:rPr>
              <a:t>Demo the following:</a:t>
            </a:r>
          </a:p>
          <a:p>
            <a:pPr marL="342900" lvl="0" indent="-342900" defTabSz="914460">
              <a:lnSpc>
                <a:spcPct val="150000"/>
              </a:lnSpc>
              <a:spcAft>
                <a:spcPts val="333"/>
              </a:spcAft>
              <a:buFont typeface="+mj-lt"/>
              <a:buAutoNum type="arabicPeriod"/>
              <a:defRPr/>
            </a:pPr>
            <a:r>
              <a:rPr lang="fi-FI" noProof="1">
                <a:solidFill>
                  <a:schemeClr val="tx1"/>
                </a:solidFill>
                <a:latin typeface="Segoe UI Light" pitchFamily="34" charset="0"/>
              </a:rPr>
              <a:t>Open make.powerapps.com</a:t>
            </a:r>
          </a:p>
          <a:p>
            <a:pPr marL="342900" lvl="0" indent="-342900" defTabSz="914460">
              <a:lnSpc>
                <a:spcPct val="150000"/>
              </a:lnSpc>
              <a:spcAft>
                <a:spcPts val="333"/>
              </a:spcAft>
              <a:buFont typeface="+mj-lt"/>
              <a:buAutoNum type="arabicPeriod"/>
              <a:defRPr/>
            </a:pPr>
            <a:r>
              <a:rPr lang="fi-FI" noProof="1">
                <a:solidFill>
                  <a:schemeClr val="tx1"/>
                </a:solidFill>
                <a:latin typeface="Segoe UI Light" pitchFamily="34" charset="0"/>
              </a:rPr>
              <a:t>Select Contoso Production environment</a:t>
            </a:r>
          </a:p>
          <a:p>
            <a:pPr marL="342900" lvl="0" indent="-342900" defTabSz="914460">
              <a:lnSpc>
                <a:spcPct val="150000"/>
              </a:lnSpc>
              <a:spcAft>
                <a:spcPts val="333"/>
              </a:spcAft>
              <a:buFont typeface="+mj-lt"/>
              <a:buAutoNum type="arabicPeriod"/>
              <a:defRPr/>
            </a:pPr>
            <a:r>
              <a:rPr lang="fi-FI" noProof="1">
                <a:solidFill>
                  <a:schemeClr val="tx1"/>
                </a:solidFill>
                <a:latin typeface="Segoe UI Light" pitchFamily="34" charset="0"/>
              </a:rPr>
              <a:t>Create new solution named </a:t>
            </a:r>
            <a:r>
              <a:rPr lang="fi-FI" b="1" noProof="1">
                <a:solidFill>
                  <a:schemeClr val="tx1"/>
                </a:solidFill>
                <a:latin typeface="Segoe UI Light" pitchFamily="34" charset="0"/>
              </a:rPr>
              <a:t>Contoso Solution</a:t>
            </a:r>
            <a:r>
              <a:rPr lang="fi-FI" noProof="1">
                <a:solidFill>
                  <a:schemeClr val="tx1"/>
                </a:solidFill>
                <a:latin typeface="Segoe UI Light" pitchFamily="34" charset="0"/>
              </a:rPr>
              <a:t> and create new publisher named </a:t>
            </a:r>
            <a:r>
              <a:rPr lang="fi-FI" b="1" noProof="1">
                <a:solidFill>
                  <a:schemeClr val="tx1"/>
                </a:solidFill>
                <a:latin typeface="Segoe UI Light" pitchFamily="34" charset="0"/>
              </a:rPr>
              <a:t>Contoso</a:t>
            </a:r>
            <a:endParaRPr lang="fi-FI" noProof="1">
              <a:solidFill>
                <a:schemeClr val="tx1"/>
              </a:solidFill>
              <a:latin typeface="Segoe UI Light" pitchFamily="34" charset="0"/>
            </a:endParaRPr>
          </a:p>
          <a:p>
            <a:pPr marL="342900" lvl="0" indent="-342900" defTabSz="914460">
              <a:lnSpc>
                <a:spcPct val="150000"/>
              </a:lnSpc>
              <a:spcAft>
                <a:spcPts val="333"/>
              </a:spcAft>
              <a:buFont typeface="+mj-lt"/>
              <a:buAutoNum type="arabicPeriod"/>
              <a:defRPr/>
            </a:pPr>
            <a:r>
              <a:rPr lang="fi-FI" noProof="1">
                <a:solidFill>
                  <a:schemeClr val="tx1"/>
                </a:solidFill>
                <a:latin typeface="Segoe UI Light" pitchFamily="34" charset="0"/>
              </a:rPr>
              <a:t>Create canvas app, flow and table to solution</a:t>
            </a:r>
            <a:endParaRPr lang="en-US" dirty="0">
              <a:solidFill>
                <a:schemeClr val="tx1"/>
              </a:solidFill>
              <a:latin typeface="Segoe UI"/>
            </a:endParaRP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28</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276999"/>
          </a:xfrm>
        </p:spPr>
        <p:txBody>
          <a:bodyPr/>
          <a:lstStyle/>
          <a:p>
            <a:r>
              <a:rPr lang="en-US" dirty="0"/>
              <a:t>Create Solution with Power App, Flow and Table</a:t>
            </a:r>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984083080"/>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Platform CLI</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7116763"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1200"/>
              </a:spcBef>
              <a:spcAft>
                <a:spcPts val="1200"/>
              </a:spcAft>
              <a:buNone/>
            </a:pPr>
            <a:r>
              <a:rPr lang="en-US" dirty="0">
                <a:cs typeface="Segoe UI"/>
              </a:rPr>
              <a:t>Tools you can use to perform various operations in Microsoft Power Platform related to environment lifecycle, authentication, and work with Microsoft Dataverse environments, </a:t>
            </a:r>
            <a:r>
              <a:rPr lang="en-US" b="1" dirty="0">
                <a:cs typeface="Segoe UI"/>
              </a:rPr>
              <a:t>solution packages</a:t>
            </a:r>
            <a:r>
              <a:rPr lang="en-US" dirty="0">
                <a:cs typeface="Segoe UI"/>
              </a:rPr>
              <a:t>, portals, code components, and so on.</a:t>
            </a:r>
          </a:p>
          <a:p>
            <a:pPr marL="0" indent="0">
              <a:spcBef>
                <a:spcPts val="0"/>
              </a:spcBef>
              <a:spcAft>
                <a:spcPts val="600"/>
              </a:spcAft>
              <a:buNone/>
            </a:pPr>
            <a:r>
              <a:rPr lang="en-US" b="0" i="0" dirty="0">
                <a:solidFill>
                  <a:srgbClr val="171717"/>
                </a:solidFill>
                <a:effectLst/>
                <a:latin typeface="Segoe UI"/>
                <a:cs typeface="Segoe UI"/>
              </a:rPr>
              <a:t>You can use either of the following ways to install Microsoft Power Platform CLI</a:t>
            </a:r>
            <a:r>
              <a:rPr lang="en-US" dirty="0">
                <a:solidFill>
                  <a:srgbClr val="171717"/>
                </a:solidFill>
                <a:latin typeface="Segoe UI"/>
                <a:cs typeface="Segoe UI"/>
              </a:rPr>
              <a:t>:</a:t>
            </a:r>
            <a:endParaRPr lang="en-US" b="0" i="0" dirty="0">
              <a:solidFill>
                <a:srgbClr val="171717"/>
              </a:solidFill>
              <a:effectLst/>
              <a:latin typeface="Segoe UI" panose="020B0502040204020203" pitchFamily="34" charset="0"/>
            </a:endParaRPr>
          </a:p>
          <a:p>
            <a:pPr marL="310515" indent="-310515">
              <a:spcBef>
                <a:spcPts val="0"/>
              </a:spcBef>
              <a:spcAft>
                <a:spcPts val="600"/>
              </a:spcAft>
            </a:pPr>
            <a:r>
              <a:rPr lang="en-US" dirty="0">
                <a:solidFill>
                  <a:srgbClr val="171717"/>
                </a:solidFill>
                <a:latin typeface="Segoe UI" panose="020B0502040204020203" pitchFamily="34" charset="0"/>
              </a:rPr>
              <a:t>Visual Studio Code extension</a:t>
            </a:r>
          </a:p>
          <a:p>
            <a:pPr marL="310515" indent="-310515">
              <a:spcBef>
                <a:spcPts val="0"/>
              </a:spcBef>
              <a:spcAft>
                <a:spcPts val="600"/>
              </a:spcAft>
            </a:pPr>
            <a:r>
              <a:rPr lang="en-US" dirty="0">
                <a:solidFill>
                  <a:srgbClr val="171717"/>
                </a:solidFill>
                <a:latin typeface="Segoe UI" panose="020B0502040204020203" pitchFamily="34" charset="0"/>
              </a:rPr>
              <a:t>Standalone MSI installation</a:t>
            </a:r>
            <a:endParaRPr lang="en-US" dirty="0"/>
          </a:p>
        </p:txBody>
      </p:sp>
      <p:pic>
        <p:nvPicPr>
          <p:cNvPr id="4" name="Picture 3">
            <a:extLst>
              <a:ext uri="{FF2B5EF4-FFF2-40B4-BE49-F238E27FC236}">
                <a16:creationId xmlns:a16="http://schemas.microsoft.com/office/drawing/2014/main" id="{35F85B8E-4AD0-4CCE-AEC5-1DEBA6847900}"/>
              </a:ext>
            </a:extLst>
          </p:cNvPr>
          <p:cNvPicPr>
            <a:picLocks noChangeAspect="1"/>
          </p:cNvPicPr>
          <p:nvPr/>
        </p:nvPicPr>
        <p:blipFill>
          <a:blip r:embed="rId5"/>
          <a:stretch>
            <a:fillRect/>
          </a:stretch>
        </p:blipFill>
        <p:spPr>
          <a:xfrm>
            <a:off x="8224781" y="1026893"/>
            <a:ext cx="3435075" cy="269732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B3B48062-CB7B-46B3-BA47-F31D6B9D1872}"/>
              </a:ext>
            </a:extLst>
          </p:cNvPr>
          <p:cNvPicPr>
            <a:picLocks noChangeAspect="1"/>
          </p:cNvPicPr>
          <p:nvPr/>
        </p:nvPicPr>
        <p:blipFill>
          <a:blip r:embed="rId6"/>
          <a:stretch>
            <a:fillRect/>
          </a:stretch>
        </p:blipFill>
        <p:spPr>
          <a:xfrm>
            <a:off x="8224781" y="3864723"/>
            <a:ext cx="3435076" cy="2673237"/>
          </a:xfrm>
          <a:prstGeom prst="rect">
            <a:avLst/>
          </a:prstGeom>
          <a:ln>
            <a:noFill/>
          </a:ln>
          <a:effectLst>
            <a:outerShdw blurRad="292100" dist="139700" dir="2700000" algn="tl" rotWithShape="0">
              <a:srgbClr val="333333">
                <a:alpha val="65000"/>
              </a:srgbClr>
            </a:outerShdw>
          </a:effectLst>
        </p:spPr>
      </p:pic>
      <p:sp>
        <p:nvSpPr>
          <p:cNvPr id="2" name="Footer Placeholder 2">
            <a:extLst>
              <a:ext uri="{FF2B5EF4-FFF2-40B4-BE49-F238E27FC236}">
                <a16:creationId xmlns:a16="http://schemas.microsoft.com/office/drawing/2014/main" id="{77C2B420-1CC5-0B0C-8259-B34A64D8F45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0986859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solidFill>
                  <a:schemeClr val="tx1"/>
                </a:solidFill>
              </a:rPr>
              <a:t>After completing this Learning, you will be able to:</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2859851274"/>
              </p:ext>
            </p:extLst>
          </p:nvPr>
        </p:nvGraphicFramePr>
        <p:xfrm>
          <a:off x="571500" y="1752870"/>
          <a:ext cx="8188960" cy="35480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80114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r>
                        <a:rPr lang="en-US" sz="1400" b="0" kern="1200" dirty="0">
                          <a:solidFill>
                            <a:schemeClr val="tx1"/>
                          </a:solidFill>
                          <a:latin typeface="+mj-lt"/>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dirty="0">
                          <a:solidFill>
                            <a:schemeClr val="tx1"/>
                          </a:solidFill>
                        </a:rPr>
                        <a:t>Basic concepts about Application Lifecycle Management (ALM)</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770268">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How to export/import Apps and Flows using package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711690">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What Power Platform Solution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How to deploy resources using solution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How </a:t>
                      </a:r>
                      <a:r>
                        <a:rPr lang="en-US" sz="1400"/>
                        <a:t>to setup out </a:t>
                      </a:r>
                      <a:r>
                        <a:rPr lang="en-US" sz="1400" dirty="0"/>
                        <a:t>of the box Power </a:t>
                      </a:r>
                      <a:r>
                        <a:rPr lang="en-US" sz="1400"/>
                        <a:t>Platform Pipelines and how these </a:t>
                      </a:r>
                      <a:r>
                        <a:rPr lang="en-US" sz="1400" dirty="0"/>
                        <a:t>work</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6878546"/>
                  </a:ext>
                </a:extLst>
              </a:tr>
              <a:tr h="620111">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dirty="0">
                        <a:ln>
                          <a:noFill/>
                        </a:ln>
                        <a:solidFill>
                          <a:srgbClr val="000000"/>
                        </a:solidFill>
                        <a:effectLst/>
                        <a:uLnTx/>
                        <a:uFillTx/>
                        <a:latin typeface="+mn-lt"/>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What Power Platform Build Tools for Azure DevOp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What GitHub actions for Power Platform are</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7090211"/>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153400" y="2554554"/>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2" name="Footer Placeholder 2">
            <a:extLst>
              <a:ext uri="{FF2B5EF4-FFF2-40B4-BE49-F238E27FC236}">
                <a16:creationId xmlns:a16="http://schemas.microsoft.com/office/drawing/2014/main" id="{9094971B-E6E5-F2C0-DA10-5AA0BA575B4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UI"/>
              </a:rPr>
              <a:t>Microsoft Confidential</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5" name="Straight Connector 4">
            <a:extLst>
              <a:ext uri="{FF2B5EF4-FFF2-40B4-BE49-F238E27FC236}">
                <a16:creationId xmlns:a16="http://schemas.microsoft.com/office/drawing/2014/main" id="{216557A9-2B37-9FB4-D38C-37BBE67160F2}"/>
              </a:ext>
              <a:ext uri="{C183D7F6-B498-43B3-948B-1728B52AA6E4}">
                <adec:decorative xmlns:adec="http://schemas.microsoft.com/office/drawing/2017/decorative" val="1"/>
              </a:ext>
            </a:extLst>
          </p:cNvPr>
          <p:cNvCxnSpPr>
            <a:cxnSpLocks/>
          </p:cNvCxnSpPr>
          <p:nvPr/>
        </p:nvCxnSpPr>
        <p:spPr>
          <a:xfrm>
            <a:off x="8153400" y="3308924"/>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C8F0754-DCF9-5682-73CA-C4711001203E}"/>
              </a:ext>
              <a:ext uri="{C183D7F6-B498-43B3-948B-1728B52AA6E4}">
                <adec:decorative xmlns:adec="http://schemas.microsoft.com/office/drawing/2017/decorative" val="1"/>
              </a:ext>
            </a:extLst>
          </p:cNvPr>
          <p:cNvCxnSpPr>
            <a:cxnSpLocks/>
          </p:cNvCxnSpPr>
          <p:nvPr/>
        </p:nvCxnSpPr>
        <p:spPr>
          <a:xfrm>
            <a:off x="8153400" y="4409439"/>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Platform CLI – Common Commands</a:t>
            </a:r>
          </a:p>
        </p:txBody>
      </p:sp>
      <p:graphicFrame>
        <p:nvGraphicFramePr>
          <p:cNvPr id="6" name="Content Placeholder 5">
            <a:extLst>
              <a:ext uri="{FF2B5EF4-FFF2-40B4-BE49-F238E27FC236}">
                <a16:creationId xmlns:a16="http://schemas.microsoft.com/office/drawing/2014/main" id="{7C7A8CD8-6753-441E-984D-FDB632F2423D}"/>
              </a:ext>
            </a:extLst>
          </p:cNvPr>
          <p:cNvGraphicFramePr>
            <a:graphicFrameLocks noGrp="1"/>
          </p:cNvGraphicFramePr>
          <p:nvPr>
            <p:ph sz="quarter" idx="13"/>
            <p:extLst>
              <p:ext uri="{D42A27DB-BD31-4B8C-83A1-F6EECF244321}">
                <p14:modId xmlns:p14="http://schemas.microsoft.com/office/powerpoint/2010/main" val="1007294678"/>
              </p:ext>
            </p:extLst>
          </p:nvPr>
        </p:nvGraphicFramePr>
        <p:xfrm>
          <a:off x="655637" y="1023215"/>
          <a:ext cx="11008279" cy="5456032"/>
        </p:xfrm>
        <a:graphic>
          <a:graphicData uri="http://schemas.openxmlformats.org/drawingml/2006/table">
            <a:tbl>
              <a:tblPr>
                <a:tableStyleId>{2D5ABB26-0587-4C30-8999-92F81FD0307C}</a:tableStyleId>
              </a:tblPr>
              <a:tblGrid>
                <a:gridCol w="3080115">
                  <a:extLst>
                    <a:ext uri="{9D8B030D-6E8A-4147-A177-3AD203B41FA5}">
                      <a16:colId xmlns:a16="http://schemas.microsoft.com/office/drawing/2014/main" val="2129260586"/>
                    </a:ext>
                  </a:extLst>
                </a:gridCol>
                <a:gridCol w="7928164">
                  <a:extLst>
                    <a:ext uri="{9D8B030D-6E8A-4147-A177-3AD203B41FA5}">
                      <a16:colId xmlns:a16="http://schemas.microsoft.com/office/drawing/2014/main" val="136437872"/>
                    </a:ext>
                  </a:extLst>
                </a:gridCol>
              </a:tblGrid>
              <a:tr h="419651">
                <a:tc>
                  <a:txBody>
                    <a:bodyPr/>
                    <a:lstStyle/>
                    <a:p>
                      <a:pPr algn="l" fontAlgn="t"/>
                      <a:r>
                        <a:rPr lang="fi-FI" sz="1800" b="1" dirty="0">
                          <a:solidFill>
                            <a:schemeClr val="tx1"/>
                          </a:solidFill>
                          <a:effectLst/>
                        </a:rPr>
                        <a:t>Command</a:t>
                      </a:r>
                    </a:p>
                  </a:txBody>
                  <a:tcPr marL="54944" marR="54944" marT="27472" marB="27472">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t"/>
                      <a:r>
                        <a:rPr lang="fi-FI" sz="1800" b="1" dirty="0">
                          <a:solidFill>
                            <a:schemeClr val="tx1"/>
                          </a:solidFill>
                          <a:effectLst/>
                        </a:rPr>
                        <a:t>Description</a:t>
                      </a:r>
                    </a:p>
                  </a:txBody>
                  <a:tcPr marL="54944" marR="54944" marT="27472" marB="27472">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628167"/>
                  </a:ext>
                </a:extLst>
              </a:tr>
              <a:tr h="549442">
                <a:tc>
                  <a:txBody>
                    <a:bodyPr/>
                    <a:lstStyle/>
                    <a:p>
                      <a:pPr algn="l" fontAlgn="t"/>
                      <a:r>
                        <a:rPr lang="fi-FI" sz="1800" b="1" u="none" strike="noStrike" dirty="0">
                          <a:effectLst/>
                        </a:rPr>
                        <a:t>Admin</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fi-FI" sz="1800" dirty="0" err="1">
                          <a:effectLst/>
                        </a:rPr>
                        <a:t>Commands</a:t>
                      </a:r>
                      <a:r>
                        <a:rPr lang="fi-FI" sz="1800" dirty="0">
                          <a:effectLst/>
                        </a:rPr>
                        <a:t> for </a:t>
                      </a:r>
                      <a:r>
                        <a:rPr lang="fi-FI" sz="1800" dirty="0" err="1">
                          <a:effectLst/>
                        </a:rPr>
                        <a:t>environment</a:t>
                      </a:r>
                      <a:r>
                        <a:rPr lang="fi-FI" sz="1800" dirty="0">
                          <a:effectLst/>
                        </a:rPr>
                        <a:t> </a:t>
                      </a:r>
                      <a:r>
                        <a:rPr lang="fi-FI" sz="1800" dirty="0" err="1">
                          <a:effectLst/>
                        </a:rPr>
                        <a:t>lifecycle</a:t>
                      </a:r>
                      <a:r>
                        <a:rPr lang="fi-FI" sz="1800" dirty="0">
                          <a:effectLst/>
                        </a:rPr>
                        <a:t> </a:t>
                      </a:r>
                      <a:r>
                        <a:rPr lang="fi-FI" sz="1800" dirty="0" err="1">
                          <a:effectLst/>
                        </a:rPr>
                        <a:t>features</a:t>
                      </a: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4156501"/>
                  </a:ext>
                </a:extLst>
              </a:tr>
              <a:tr h="549442">
                <a:tc>
                  <a:txBody>
                    <a:bodyPr/>
                    <a:lstStyle/>
                    <a:p>
                      <a:pPr algn="l" fontAlgn="t"/>
                      <a:r>
                        <a:rPr lang="fi-FI" sz="1800" b="1" u="none" strike="noStrike" dirty="0">
                          <a:effectLst/>
                        </a:rPr>
                        <a:t>Auth</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to </a:t>
                      </a:r>
                      <a:r>
                        <a:rPr lang="en-US" sz="1800" u="none" strike="noStrike" dirty="0">
                          <a:effectLst/>
                          <a:hlinkClick r:id="rId4"/>
                        </a:rPr>
                        <a:t>authenticate to Dataverse</a:t>
                      </a:r>
                      <a:endParaRPr lang="en-US" sz="1800"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88100299"/>
                  </a:ext>
                </a:extLst>
              </a:tr>
              <a:tr h="585902">
                <a:tc>
                  <a:txBody>
                    <a:bodyPr/>
                    <a:lstStyle/>
                    <a:p>
                      <a:pPr algn="l" fontAlgn="t"/>
                      <a:r>
                        <a:rPr lang="fi-FI" sz="1800" b="1" u="none" strike="noStrike" dirty="0">
                          <a:effectLst/>
                        </a:rPr>
                        <a:t>Canvas</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for working with canvas app source files</a:t>
                      </a: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3853432"/>
                  </a:ext>
                </a:extLst>
              </a:tr>
              <a:tr h="549442">
                <a:tc>
                  <a:txBody>
                    <a:bodyPr/>
                    <a:lstStyle/>
                    <a:p>
                      <a:pPr algn="l" fontAlgn="t"/>
                      <a:r>
                        <a:rPr lang="fi-FI" sz="1800" b="1" u="none" strike="noStrike" dirty="0">
                          <a:effectLst/>
                        </a:rPr>
                        <a:t>Org</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for working with </a:t>
                      </a:r>
                      <a:r>
                        <a:rPr lang="en-US" sz="1800" dirty="0" err="1">
                          <a:effectLst/>
                        </a:rPr>
                        <a:t>Dataverse</a:t>
                      </a:r>
                      <a:r>
                        <a:rPr lang="en-US" sz="1800" dirty="0">
                          <a:effectLst/>
                        </a:rPr>
                        <a:t> environments</a:t>
                      </a: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6201979"/>
                  </a:ext>
                </a:extLst>
              </a:tr>
              <a:tr h="384609">
                <a:tc>
                  <a:txBody>
                    <a:bodyPr/>
                    <a:lstStyle/>
                    <a:p>
                      <a:pPr algn="l" fontAlgn="t"/>
                      <a:r>
                        <a:rPr lang="fi-FI" sz="1800" b="1" u="none" strike="noStrike" dirty="0">
                          <a:effectLst/>
                        </a:rPr>
                        <a:t>Package</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for working with </a:t>
                      </a:r>
                      <a:r>
                        <a:rPr lang="en-US" sz="1800" u="none" strike="noStrike" dirty="0">
                          <a:effectLst/>
                          <a:hlinkClick r:id="rId5"/>
                        </a:rPr>
                        <a:t>solution packages</a:t>
                      </a:r>
                      <a:endParaRPr lang="en-US" sz="1800"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763947"/>
                  </a:ext>
                </a:extLst>
              </a:tr>
              <a:tr h="549442">
                <a:tc>
                  <a:txBody>
                    <a:bodyPr/>
                    <a:lstStyle/>
                    <a:p>
                      <a:pPr algn="l" fontAlgn="t"/>
                      <a:r>
                        <a:rPr lang="fi-FI" sz="1800" b="1" u="none" strike="noStrike" dirty="0">
                          <a:effectLst/>
                        </a:rPr>
                        <a:t>Paportal</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for working with </a:t>
                      </a:r>
                      <a:r>
                        <a:rPr lang="en-US" sz="1800" u="none" strike="noStrike" dirty="0">
                          <a:effectLst/>
                          <a:hlinkClick r:id="rId6"/>
                        </a:rPr>
                        <a:t>Power Apps portals (Preview)</a:t>
                      </a:r>
                      <a:endParaRPr lang="en-US" sz="1800"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1172081"/>
                  </a:ext>
                </a:extLst>
              </a:tr>
              <a:tr h="549442">
                <a:tc>
                  <a:txBody>
                    <a:bodyPr/>
                    <a:lstStyle/>
                    <a:p>
                      <a:pPr algn="l" fontAlgn="t"/>
                      <a:r>
                        <a:rPr lang="fi-FI" sz="1800" b="1" u="none" strike="noStrike" dirty="0">
                          <a:effectLst/>
                        </a:rPr>
                        <a:t>PCF</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for working with </a:t>
                      </a:r>
                      <a:r>
                        <a:rPr lang="en-US" sz="1800" u="none" strike="noStrike" dirty="0">
                          <a:effectLst/>
                          <a:hlinkClick r:id="rId7"/>
                        </a:rPr>
                        <a:t>Power Apps component framework</a:t>
                      </a:r>
                      <a:endParaRPr lang="en-US" sz="1800"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719568"/>
                  </a:ext>
                </a:extLst>
              </a:tr>
              <a:tr h="384609">
                <a:tc>
                  <a:txBody>
                    <a:bodyPr/>
                    <a:lstStyle/>
                    <a:p>
                      <a:pPr algn="l" fontAlgn="t"/>
                      <a:r>
                        <a:rPr lang="fi-FI" sz="1800" b="1" u="none" strike="noStrike" dirty="0">
                          <a:effectLst/>
                        </a:rPr>
                        <a:t>Plugin</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 to create a </a:t>
                      </a:r>
                      <a:r>
                        <a:rPr lang="en-US" sz="1800" u="none" strike="noStrike" dirty="0">
                          <a:effectLst/>
                          <a:hlinkClick r:id="rId8"/>
                        </a:rPr>
                        <a:t>plug-in</a:t>
                      </a:r>
                      <a:r>
                        <a:rPr lang="en-US" sz="1800" dirty="0">
                          <a:effectLst/>
                        </a:rPr>
                        <a:t> project</a:t>
                      </a: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1525512"/>
                  </a:ext>
                </a:extLst>
              </a:tr>
              <a:tr h="549442">
                <a:tc>
                  <a:txBody>
                    <a:bodyPr/>
                    <a:lstStyle/>
                    <a:p>
                      <a:pPr algn="l" fontAlgn="t"/>
                      <a:r>
                        <a:rPr lang="fi-FI" sz="1800" b="1" u="none" strike="noStrike" dirty="0">
                          <a:effectLst/>
                        </a:rPr>
                        <a:t>Solution</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800" dirty="0">
                          <a:effectLst/>
                        </a:rPr>
                        <a:t>Commands for working with </a:t>
                      </a:r>
                      <a:r>
                        <a:rPr lang="en-US" sz="1800" u="none" strike="noStrike" dirty="0" err="1">
                          <a:effectLst/>
                        </a:rPr>
                        <a:t>Dataverse</a:t>
                      </a:r>
                      <a:r>
                        <a:rPr lang="en-US" sz="1800" u="none" strike="noStrike" dirty="0">
                          <a:effectLst/>
                        </a:rPr>
                        <a:t> solution projects</a:t>
                      </a:r>
                      <a:endParaRPr lang="en-US" sz="1800" dirty="0">
                        <a:effectLst/>
                      </a:endParaRPr>
                    </a:p>
                  </a:txBody>
                  <a:tcPr marL="54944" marR="54944" marT="27472" marB="2747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7327227"/>
                  </a:ext>
                </a:extLst>
              </a:tr>
              <a:tr h="384609">
                <a:tc>
                  <a:txBody>
                    <a:bodyPr/>
                    <a:lstStyle/>
                    <a:p>
                      <a:pPr algn="l" fontAlgn="t"/>
                      <a:r>
                        <a:rPr lang="fi-FI" sz="1800" b="1" u="none" strike="noStrike" dirty="0">
                          <a:effectLst/>
                        </a:rPr>
                        <a:t>Telemetry</a:t>
                      </a:r>
                      <a:endParaRPr lang="fi-FI" sz="1800" b="1" dirty="0">
                        <a:effectLst/>
                      </a:endParaRPr>
                    </a:p>
                  </a:txBody>
                  <a:tcPr marL="54944" marR="54944" marT="27472" marB="27472">
                    <a:lnT w="12700" cap="flat" cmpd="sng" algn="ctr">
                      <a:solidFill>
                        <a:schemeClr val="tx1"/>
                      </a:solidFill>
                      <a:prstDash val="solid"/>
                      <a:round/>
                      <a:headEnd type="none" w="med" len="med"/>
                      <a:tailEnd type="none" w="med" len="med"/>
                    </a:lnT>
                  </a:tcPr>
                </a:tc>
                <a:tc>
                  <a:txBody>
                    <a:bodyPr/>
                    <a:lstStyle/>
                    <a:p>
                      <a:pPr algn="l" fontAlgn="t"/>
                      <a:r>
                        <a:rPr lang="fi-FI" sz="1800" dirty="0">
                          <a:effectLst/>
                        </a:rPr>
                        <a:t>Manages </a:t>
                      </a:r>
                      <a:r>
                        <a:rPr lang="fi-FI" sz="1800" dirty="0" err="1">
                          <a:effectLst/>
                        </a:rPr>
                        <a:t>the</a:t>
                      </a:r>
                      <a:r>
                        <a:rPr lang="fi-FI" sz="1800" dirty="0">
                          <a:effectLst/>
                        </a:rPr>
                        <a:t> </a:t>
                      </a:r>
                      <a:r>
                        <a:rPr lang="fi-FI" sz="1800" dirty="0" err="1">
                          <a:effectLst/>
                        </a:rPr>
                        <a:t>telemetry</a:t>
                      </a:r>
                      <a:r>
                        <a:rPr lang="fi-FI" sz="1800" dirty="0">
                          <a:effectLst/>
                        </a:rPr>
                        <a:t> </a:t>
                      </a:r>
                      <a:r>
                        <a:rPr lang="fi-FI" sz="1800" dirty="0" err="1">
                          <a:effectLst/>
                        </a:rPr>
                        <a:t>settings</a:t>
                      </a:r>
                    </a:p>
                  </a:txBody>
                  <a:tcPr marL="54944" marR="54944" marT="27472" marB="27472">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35980263"/>
                  </a:ext>
                </a:extLst>
              </a:tr>
            </a:tbl>
          </a:graphicData>
        </a:graphic>
      </p:graphicFrame>
      <p:sp>
        <p:nvSpPr>
          <p:cNvPr id="2" name="Footer Placeholder 2">
            <a:extLst>
              <a:ext uri="{FF2B5EF4-FFF2-40B4-BE49-F238E27FC236}">
                <a16:creationId xmlns:a16="http://schemas.microsoft.com/office/drawing/2014/main" id="{F4CA9114-7049-ED96-E8D1-93626F0D313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83771889"/>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90000"/>
              </a:lnSpc>
              <a:spcAft>
                <a:spcPts val="333"/>
              </a:spcAft>
              <a:defRPr/>
            </a:pPr>
            <a:r>
              <a:rPr lang="en-US" sz="1800" noProof="1">
                <a:solidFill>
                  <a:schemeClr val="tx1"/>
                </a:solidFill>
                <a:latin typeface="Segoe UI Light" panose="020B0502040204020203" pitchFamily="34" charset="0"/>
                <a:cs typeface="Segoe UI Light" panose="020B0502040204020203" pitchFamily="34" charset="0"/>
              </a:rPr>
              <a:t>Demo the following:</a:t>
            </a:r>
          </a:p>
          <a:p>
            <a:pPr marL="342900" lvl="0" indent="-342900" defTabSz="914460">
              <a:lnSpc>
                <a:spcPct val="90000"/>
              </a:lnSpc>
              <a:spcAft>
                <a:spcPts val="333"/>
              </a:spcAft>
              <a:buFont typeface="+mj-lt"/>
              <a:buAutoNum type="arabicPeriod"/>
              <a:defRPr/>
            </a:pPr>
            <a:r>
              <a:rPr lang="fi-FI" sz="1800" noProof="1">
                <a:solidFill>
                  <a:schemeClr val="tx1"/>
                </a:solidFill>
                <a:latin typeface="Segoe UI Light" panose="020B0502040204020203" pitchFamily="34" charset="0"/>
                <a:cs typeface="Segoe UI Light" panose="020B0502040204020203" pitchFamily="34" charset="0"/>
              </a:rPr>
              <a:t>Install Power Platform CLI https://aka.ms/PowerAppsCLI</a:t>
            </a:r>
          </a:p>
          <a:p>
            <a:pPr marL="342900" lvl="0" indent="-342900" defTabSz="914460">
              <a:lnSpc>
                <a:spcPct val="90000"/>
              </a:lnSpc>
              <a:spcAft>
                <a:spcPts val="333"/>
              </a:spcAft>
              <a:buFont typeface="+mj-lt"/>
              <a:buAutoNum type="arabicPeriod"/>
              <a:defRPr/>
            </a:pPr>
            <a:endParaRPr lang="en-US" sz="1800" dirty="0">
              <a:solidFill>
                <a:schemeClr val="tx1"/>
              </a:solidFill>
              <a:latin typeface="Segoe UI Light" panose="020B0502040204020203" pitchFamily="34" charset="0"/>
              <a:cs typeface="Segoe UI Light" panose="020B0502040204020203" pitchFamily="34" charset="0"/>
            </a:endParaRPr>
          </a:p>
          <a:p>
            <a:pPr marL="342900" lvl="0" indent="-342900" defTabSz="914460">
              <a:lnSpc>
                <a:spcPct val="90000"/>
              </a:lnSpc>
              <a:spcAft>
                <a:spcPts val="333"/>
              </a:spcAft>
              <a:buFont typeface="+mj-lt"/>
              <a:buAutoNum type="arabicPeriod"/>
              <a:defRPr/>
            </a:pPr>
            <a:r>
              <a:rPr lang="en-US" sz="1800" dirty="0">
                <a:solidFill>
                  <a:schemeClr val="tx1"/>
                </a:solidFill>
                <a:latin typeface="Segoe UI Light" panose="020B0502040204020203" pitchFamily="34" charset="0"/>
                <a:cs typeface="Segoe UI Light" panose="020B0502040204020203" pitchFamily="34" charset="0"/>
              </a:rPr>
              <a:t>Open CMD and run following command to login using MOD admin creds into Contoso Production environment (replace </a:t>
            </a:r>
            <a:r>
              <a:rPr lang="en-US" sz="1800" dirty="0" err="1">
                <a:solidFill>
                  <a:schemeClr val="tx1"/>
                </a:solidFill>
                <a:latin typeface="Segoe UI Light" panose="020B0502040204020203" pitchFamily="34" charset="0"/>
                <a:cs typeface="Segoe UI Light" panose="020B0502040204020203" pitchFamily="34" charset="0"/>
              </a:rPr>
              <a:t>EnvironmentUrl</a:t>
            </a:r>
            <a:r>
              <a:rPr lang="en-US" sz="1800" dirty="0">
                <a:solidFill>
                  <a:schemeClr val="tx1"/>
                </a:solidFill>
                <a:latin typeface="Segoe UI Light" panose="020B0502040204020203" pitchFamily="34" charset="0"/>
                <a:cs typeface="Segoe UI Light" panose="020B0502040204020203" pitchFamily="34" charset="0"/>
              </a:rPr>
              <a:t> with correct environment which is like this </a:t>
            </a:r>
            <a:r>
              <a:rPr lang="en-US" sz="1800" dirty="0">
                <a:solidFill>
                  <a:schemeClr val="tx1"/>
                </a:solidFill>
                <a:latin typeface="Segoe UI Light" panose="020B0502040204020203" pitchFamily="34" charset="0"/>
                <a:cs typeface="Segoe UI Light" panose="020B0502040204020203" pitchFamily="34" charset="0"/>
                <a:hlinkClick r:id="rId5"/>
              </a:rPr>
              <a:t>https://org1234566.crm4.dynamics.com</a:t>
            </a:r>
            <a:r>
              <a:rPr lang="en-US" sz="1800" dirty="0">
                <a:solidFill>
                  <a:schemeClr val="tx1"/>
                </a:solidFill>
                <a:latin typeface="Segoe UI Light" panose="020B0502040204020203" pitchFamily="34" charset="0"/>
                <a:cs typeface="Segoe UI Light" panose="020B0502040204020203" pitchFamily="34" charset="0"/>
              </a:rPr>
              <a:t>)</a:t>
            </a:r>
          </a:p>
          <a:p>
            <a:pPr lvl="1" defTabSz="914460">
              <a:lnSpc>
                <a:spcPct val="90000"/>
              </a:lnSpc>
              <a:spcAft>
                <a:spcPts val="333"/>
              </a:spcAft>
              <a:defRPr/>
            </a:pPr>
            <a:r>
              <a:rPr lang="en-US" b="1" dirty="0">
                <a:solidFill>
                  <a:schemeClr val="tx1"/>
                </a:solidFill>
                <a:latin typeface="Segoe UI Light" panose="020B0502040204020203" pitchFamily="34" charset="0"/>
                <a:cs typeface="Segoe UI Light" panose="020B0502040204020203" pitchFamily="34" charset="0"/>
              </a:rPr>
              <a:t> </a:t>
            </a:r>
            <a:r>
              <a:rPr lang="en-US" b="1" dirty="0" err="1">
                <a:solidFill>
                  <a:schemeClr val="tx1"/>
                </a:solidFill>
                <a:latin typeface="Segoe UI Light" panose="020B0502040204020203" pitchFamily="34" charset="0"/>
                <a:cs typeface="Segoe UI Light" panose="020B0502040204020203" pitchFamily="34" charset="0"/>
              </a:rPr>
              <a:t>pac</a:t>
            </a:r>
            <a:r>
              <a:rPr lang="en-US" b="1" dirty="0">
                <a:solidFill>
                  <a:schemeClr val="tx1"/>
                </a:solidFill>
                <a:latin typeface="Segoe UI Light" panose="020B0502040204020203" pitchFamily="34" charset="0"/>
                <a:cs typeface="Segoe UI Light" panose="020B0502040204020203" pitchFamily="34" charset="0"/>
              </a:rPr>
              <a:t> auth create -u  {</a:t>
            </a:r>
            <a:r>
              <a:rPr lang="en-US" b="1" dirty="0" err="1">
                <a:solidFill>
                  <a:schemeClr val="tx1"/>
                </a:solidFill>
                <a:latin typeface="Segoe UI Light" panose="020B0502040204020203" pitchFamily="34" charset="0"/>
                <a:cs typeface="Segoe UI Light" panose="020B0502040204020203" pitchFamily="34" charset="0"/>
              </a:rPr>
              <a:t>EnvironmentURL</a:t>
            </a:r>
            <a:r>
              <a:rPr lang="en-US" b="1" dirty="0">
                <a:solidFill>
                  <a:schemeClr val="tx1"/>
                </a:solidFill>
                <a:latin typeface="Segoe UI Light" panose="020B0502040204020203" pitchFamily="34" charset="0"/>
                <a:cs typeface="Segoe UI Light" panose="020B0502040204020203" pitchFamily="34" charset="0"/>
              </a:rPr>
              <a:t>}</a:t>
            </a:r>
          </a:p>
          <a:p>
            <a:pPr marL="342900" lvl="0" indent="-342900" defTabSz="914460">
              <a:lnSpc>
                <a:spcPct val="90000"/>
              </a:lnSpc>
              <a:spcAft>
                <a:spcPts val="333"/>
              </a:spcAft>
              <a:buFont typeface="+mj-lt"/>
              <a:buAutoNum type="arabicPeriod"/>
              <a:defRPr/>
            </a:pPr>
            <a:endParaRPr lang="en-US" sz="1800" b="1" dirty="0">
              <a:solidFill>
                <a:schemeClr val="tx1"/>
              </a:solidFill>
              <a:latin typeface="Segoe UI Light" panose="020B0502040204020203" pitchFamily="34" charset="0"/>
              <a:cs typeface="Segoe UI Light" panose="020B0502040204020203" pitchFamily="34" charset="0"/>
            </a:endParaRPr>
          </a:p>
          <a:p>
            <a:pPr marL="342900" lvl="0" indent="-342900" defTabSz="914460">
              <a:lnSpc>
                <a:spcPct val="90000"/>
              </a:lnSpc>
              <a:spcAft>
                <a:spcPts val="333"/>
              </a:spcAft>
              <a:buFont typeface="+mj-lt"/>
              <a:buAutoNum type="arabicPeriod"/>
              <a:defRPr/>
            </a:pPr>
            <a:r>
              <a:rPr lang="en-US" sz="1800" b="0" dirty="0">
                <a:solidFill>
                  <a:schemeClr val="tx1"/>
                </a:solidFill>
                <a:latin typeface="Segoe UI Light" panose="020B0502040204020203" pitchFamily="34" charset="0"/>
                <a:cs typeface="Segoe UI Light" panose="020B0502040204020203" pitchFamily="34" charset="0"/>
              </a:rPr>
              <a:t>Export Contoso Solution to C:\Temp by running the following command</a:t>
            </a:r>
          </a:p>
          <a:p>
            <a:pPr lvl="1" defTabSz="914460">
              <a:lnSpc>
                <a:spcPct val="90000"/>
              </a:lnSpc>
              <a:spcAft>
                <a:spcPts val="333"/>
              </a:spcAft>
              <a:defRPr/>
            </a:pPr>
            <a:r>
              <a:rPr lang="en-US" b="1" dirty="0" err="1">
                <a:solidFill>
                  <a:schemeClr val="tx1"/>
                </a:solidFill>
                <a:latin typeface="Segoe UI Light" panose="020B0502040204020203" pitchFamily="34" charset="0"/>
                <a:cs typeface="Segoe UI Light" panose="020B0502040204020203" pitchFamily="34" charset="0"/>
              </a:rPr>
              <a:t>pac</a:t>
            </a:r>
            <a:r>
              <a:rPr lang="en-US" b="1" dirty="0">
                <a:solidFill>
                  <a:schemeClr val="tx1"/>
                </a:solidFill>
                <a:latin typeface="Segoe UI Light" panose="020B0502040204020203" pitchFamily="34" charset="0"/>
                <a:cs typeface="Segoe UI Light" panose="020B0502040204020203" pitchFamily="34" charset="0"/>
              </a:rPr>
              <a:t> solution export –n </a:t>
            </a:r>
            <a:r>
              <a:rPr lang="en-US" b="1" dirty="0" err="1">
                <a:solidFill>
                  <a:schemeClr val="tx1"/>
                </a:solidFill>
                <a:latin typeface="Segoe UI Light" panose="020B0502040204020203" pitchFamily="34" charset="0"/>
                <a:cs typeface="Segoe UI Light" panose="020B0502040204020203" pitchFamily="34" charset="0"/>
              </a:rPr>
              <a:t>ContosoSolution</a:t>
            </a:r>
            <a:r>
              <a:rPr lang="en-US" b="1" dirty="0">
                <a:solidFill>
                  <a:schemeClr val="tx1"/>
                </a:solidFill>
                <a:latin typeface="Segoe UI Light" panose="020B0502040204020203" pitchFamily="34" charset="0"/>
                <a:cs typeface="Segoe UI Light" panose="020B0502040204020203" pitchFamily="34" charset="0"/>
              </a:rPr>
              <a:t> –p C:\Temp -m</a:t>
            </a: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31</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276999"/>
          </a:xfrm>
        </p:spPr>
        <p:txBody>
          <a:bodyPr/>
          <a:lstStyle/>
          <a:p>
            <a:r>
              <a:rPr lang="en-US" dirty="0"/>
              <a:t>Create Solution with Power App, Flow and Table</a:t>
            </a:r>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372005985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73925" y="4356128"/>
            <a:ext cx="9996714" cy="1661993"/>
          </a:xfrm>
        </p:spPr>
        <p:txBody>
          <a:bodyPr/>
          <a:lstStyle/>
          <a:p>
            <a:pPr>
              <a:lnSpc>
                <a:spcPct val="100000"/>
              </a:lnSpc>
            </a:pPr>
            <a:r>
              <a:rPr lang="en-US" sz="5400" dirty="0"/>
              <a:t>Power Platform Pipelines</a:t>
            </a:r>
            <a:br>
              <a:rPr lang="en-US" sz="5400" dirty="0"/>
            </a:br>
            <a:endParaRPr lang="en-US" sz="5400" dirty="0"/>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710265241"/>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What are Pipelines in Power Platform</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1264614"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1200"/>
              </a:spcBef>
              <a:spcAft>
                <a:spcPts val="1200"/>
              </a:spcAft>
              <a:buNone/>
            </a:pPr>
            <a:r>
              <a:rPr lang="en-US" dirty="0"/>
              <a:t>Pipelines in Power Platform aim to </a:t>
            </a:r>
            <a:r>
              <a:rPr lang="en-US" dirty="0">
                <a:solidFill>
                  <a:schemeClr val="accent5"/>
                </a:solidFill>
              </a:rPr>
              <a:t>democratize application lifecycle management </a:t>
            </a:r>
            <a:r>
              <a:rPr lang="en-US" dirty="0"/>
              <a:t>(ALM) for Power Platform and Dynamics 365 customers.</a:t>
            </a:r>
          </a:p>
          <a:p>
            <a:pPr>
              <a:spcBef>
                <a:spcPts val="1200"/>
              </a:spcBef>
              <a:spcAft>
                <a:spcPts val="1200"/>
              </a:spcAft>
            </a:pPr>
            <a:r>
              <a:rPr lang="en-US" dirty="0"/>
              <a:t>Pipelines provide an </a:t>
            </a:r>
            <a:r>
              <a:rPr lang="en-US" dirty="0">
                <a:solidFill>
                  <a:schemeClr val="accent5"/>
                </a:solidFill>
              </a:rPr>
              <a:t>easy</a:t>
            </a:r>
            <a:r>
              <a:rPr lang="en-US" dirty="0"/>
              <a:t> and </a:t>
            </a:r>
            <a:r>
              <a:rPr lang="en-US" dirty="0">
                <a:solidFill>
                  <a:schemeClr val="accent5"/>
                </a:solidFill>
              </a:rPr>
              <a:t>approachable</a:t>
            </a:r>
            <a:r>
              <a:rPr lang="en-US" dirty="0"/>
              <a:t> method for all makers, admins, and developer to do:</a:t>
            </a:r>
          </a:p>
          <a:p>
            <a:pPr lvl="1">
              <a:spcBef>
                <a:spcPts val="1200"/>
              </a:spcBef>
              <a:spcAft>
                <a:spcPts val="1200"/>
              </a:spcAft>
            </a:pPr>
            <a:r>
              <a:rPr lang="en-US" dirty="0"/>
              <a:t>ALM automation</a:t>
            </a:r>
          </a:p>
          <a:p>
            <a:pPr lvl="1">
              <a:spcBef>
                <a:spcPts val="1200"/>
              </a:spcBef>
              <a:spcAft>
                <a:spcPts val="1200"/>
              </a:spcAft>
            </a:pPr>
            <a:r>
              <a:rPr lang="en-US" dirty="0"/>
              <a:t>Continuous integration (CI)</a:t>
            </a:r>
          </a:p>
          <a:p>
            <a:pPr lvl="1">
              <a:spcBef>
                <a:spcPts val="1200"/>
              </a:spcBef>
              <a:spcAft>
                <a:spcPts val="1200"/>
              </a:spcAft>
            </a:pPr>
            <a:r>
              <a:rPr lang="en-US" dirty="0"/>
              <a:t>Continuous delivery (CD)</a:t>
            </a:r>
          </a:p>
        </p:txBody>
      </p:sp>
      <p:sp>
        <p:nvSpPr>
          <p:cNvPr id="2" name="Footer Placeholder 2">
            <a:extLst>
              <a:ext uri="{FF2B5EF4-FFF2-40B4-BE49-F238E27FC236}">
                <a16:creationId xmlns:a16="http://schemas.microsoft.com/office/drawing/2014/main" id="{77C2B420-1CC5-0B0C-8259-B34A64D8F45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pic>
        <p:nvPicPr>
          <p:cNvPr id="7" name="Picture 6">
            <a:extLst>
              <a:ext uri="{FF2B5EF4-FFF2-40B4-BE49-F238E27FC236}">
                <a16:creationId xmlns:a16="http://schemas.microsoft.com/office/drawing/2014/main" id="{4F828475-E201-543E-EE7D-1FF0D086A64B}"/>
              </a:ext>
            </a:extLst>
          </p:cNvPr>
          <p:cNvPicPr>
            <a:picLocks noChangeAspect="1"/>
          </p:cNvPicPr>
          <p:nvPr/>
        </p:nvPicPr>
        <p:blipFill>
          <a:blip r:embed="rId5"/>
          <a:stretch>
            <a:fillRect/>
          </a:stretch>
        </p:blipFill>
        <p:spPr>
          <a:xfrm>
            <a:off x="4735442" y="2790791"/>
            <a:ext cx="7179264" cy="3367637"/>
          </a:xfrm>
          <a:prstGeom prst="rect">
            <a:avLst/>
          </a:prstGeom>
        </p:spPr>
      </p:pic>
      <p:sp>
        <p:nvSpPr>
          <p:cNvPr id="12" name="TextBox 11">
            <a:extLst>
              <a:ext uri="{FF2B5EF4-FFF2-40B4-BE49-F238E27FC236}">
                <a16:creationId xmlns:a16="http://schemas.microsoft.com/office/drawing/2014/main" id="{4A52E9A2-7B94-67FF-5CEF-00DE9B1353C4}"/>
              </a:ext>
            </a:extLst>
          </p:cNvPr>
          <p:cNvSpPr txBox="1"/>
          <p:nvPr/>
        </p:nvSpPr>
        <p:spPr>
          <a:xfrm>
            <a:off x="374490" y="6222400"/>
            <a:ext cx="6714162" cy="276999"/>
          </a:xfrm>
          <a:prstGeom prst="rect">
            <a:avLst/>
          </a:prstGeom>
          <a:noFill/>
        </p:spPr>
        <p:txBody>
          <a:bodyPr wrap="square">
            <a:spAutoFit/>
          </a:bodyPr>
          <a:lstStyle/>
          <a:p>
            <a:r>
              <a:rPr lang="en-US" sz="1200" dirty="0">
                <a:hlinkClick r:id="rId6"/>
              </a:rPr>
              <a:t>Overview of pipelines in Power Platform - Power Platform | Microsoft Learn</a:t>
            </a:r>
            <a:endParaRPr lang="en-US" sz="1200" dirty="0"/>
          </a:p>
        </p:txBody>
      </p:sp>
    </p:spTree>
    <p:custDataLst>
      <p:tags r:id="rId1"/>
    </p:custDataLst>
    <p:extLst>
      <p:ext uri="{BB962C8B-B14F-4D97-AF65-F5344CB8AC3E}">
        <p14:creationId xmlns:p14="http://schemas.microsoft.com/office/powerpoint/2010/main" val="1633693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anim calcmode="lin" valueType="num">
                                      <p:cBhvr additive="base">
                                        <p:cTn id="7"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anim calcmode="lin" valueType="num">
                                      <p:cBhvr additive="base">
                                        <p:cTn id="13"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anim calcmode="lin" valueType="num">
                                      <p:cBhvr additive="base">
                                        <p:cTn id="19"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ipelines simplify ALM for </a:t>
            </a:r>
            <a:r>
              <a:rPr lang="en-US" noProof="1">
                <a:solidFill>
                  <a:schemeClr val="accent5"/>
                </a:solidFill>
              </a:rPr>
              <a:t>ALL</a:t>
            </a:r>
            <a:r>
              <a:rPr lang="en-US" noProof="1">
                <a:solidFill>
                  <a:srgbClr val="243A5E"/>
                </a:solidFill>
              </a:rPr>
              <a:t> makers</a:t>
            </a:r>
          </a:p>
        </p:txBody>
      </p:sp>
      <p:sp>
        <p:nvSpPr>
          <p:cNvPr id="2" name="Footer Placeholder 2">
            <a:extLst>
              <a:ext uri="{FF2B5EF4-FFF2-40B4-BE49-F238E27FC236}">
                <a16:creationId xmlns:a16="http://schemas.microsoft.com/office/drawing/2014/main" id="{77C2B420-1CC5-0B0C-8259-B34A64D8F45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pic>
        <p:nvPicPr>
          <p:cNvPr id="8" name="Picture 7">
            <a:extLst>
              <a:ext uri="{FF2B5EF4-FFF2-40B4-BE49-F238E27FC236}">
                <a16:creationId xmlns:a16="http://schemas.microsoft.com/office/drawing/2014/main" id="{2225257B-32FE-F380-01F0-5F77D8DCEC0D}"/>
              </a:ext>
            </a:extLst>
          </p:cNvPr>
          <p:cNvPicPr>
            <a:picLocks noChangeAspect="1"/>
          </p:cNvPicPr>
          <p:nvPr/>
        </p:nvPicPr>
        <p:blipFill>
          <a:blip r:embed="rId4"/>
          <a:stretch>
            <a:fillRect/>
          </a:stretch>
        </p:blipFill>
        <p:spPr>
          <a:xfrm>
            <a:off x="4136002" y="1299355"/>
            <a:ext cx="4150792" cy="2136798"/>
          </a:xfrm>
          <a:prstGeom prst="rect">
            <a:avLst/>
          </a:prstGeom>
        </p:spPr>
      </p:pic>
      <p:pic>
        <p:nvPicPr>
          <p:cNvPr id="13" name="Picture 12">
            <a:extLst>
              <a:ext uri="{FF2B5EF4-FFF2-40B4-BE49-F238E27FC236}">
                <a16:creationId xmlns:a16="http://schemas.microsoft.com/office/drawing/2014/main" id="{806DF106-3092-031C-2A63-CEB4CAE3F995}"/>
              </a:ext>
            </a:extLst>
          </p:cNvPr>
          <p:cNvPicPr>
            <a:picLocks noChangeAspect="1"/>
          </p:cNvPicPr>
          <p:nvPr/>
        </p:nvPicPr>
        <p:blipFill>
          <a:blip r:embed="rId5"/>
          <a:stretch>
            <a:fillRect/>
          </a:stretch>
        </p:blipFill>
        <p:spPr>
          <a:xfrm>
            <a:off x="181428" y="1299356"/>
            <a:ext cx="3857172" cy="2136798"/>
          </a:xfrm>
          <a:prstGeom prst="rect">
            <a:avLst/>
          </a:prstGeom>
        </p:spPr>
      </p:pic>
      <p:pic>
        <p:nvPicPr>
          <p:cNvPr id="1026" name="Picture 2">
            <a:extLst>
              <a:ext uri="{FF2B5EF4-FFF2-40B4-BE49-F238E27FC236}">
                <a16:creationId xmlns:a16="http://schemas.microsoft.com/office/drawing/2014/main" id="{A7AA2D37-7C44-0B6E-F8E1-6F29D6CFA58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3002"/>
          <a:stretch/>
        </p:blipFill>
        <p:spPr bwMode="auto">
          <a:xfrm>
            <a:off x="8360971" y="1299355"/>
            <a:ext cx="3762375" cy="2129645"/>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descr="Icon of a person wearing a headset">
            <a:extLst>
              <a:ext uri="{FF2B5EF4-FFF2-40B4-BE49-F238E27FC236}">
                <a16:creationId xmlns:a16="http://schemas.microsoft.com/office/drawing/2014/main" id="{6A2877C8-69C9-BBC7-4A8A-2E575433EF08}"/>
              </a:ext>
            </a:extLst>
          </p:cNvPr>
          <p:cNvGrpSpPr/>
          <p:nvPr/>
        </p:nvGrpSpPr>
        <p:grpSpPr>
          <a:xfrm>
            <a:off x="351375" y="4352133"/>
            <a:ext cx="751672" cy="751672"/>
            <a:chOff x="4850654" y="1468393"/>
            <a:chExt cx="751672" cy="751672"/>
          </a:xfrm>
        </p:grpSpPr>
        <p:sp>
          <p:nvSpPr>
            <p:cNvPr id="22" name="Oval 21">
              <a:extLst>
                <a:ext uri="{FF2B5EF4-FFF2-40B4-BE49-F238E27FC236}">
                  <a16:creationId xmlns:a16="http://schemas.microsoft.com/office/drawing/2014/main" id="{C6E940D9-CE2A-D112-D40C-5E414566160F}"/>
                </a:ext>
                <a:ext uri="{C183D7F6-B498-43B3-948B-1728B52AA6E4}">
                  <adec:decorative xmlns:adec="http://schemas.microsoft.com/office/drawing/2017/decorative" val="1"/>
                </a:ext>
              </a:extLst>
            </p:cNvPr>
            <p:cNvSpPr>
              <a:spLocks/>
            </p:cNvSpPr>
            <p:nvPr/>
          </p:nvSpPr>
          <p:spPr bwMode="auto">
            <a:xfrm>
              <a:off x="4850654" y="1468393"/>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3" name="Telemarketer_E7B9">
              <a:extLst>
                <a:ext uri="{FF2B5EF4-FFF2-40B4-BE49-F238E27FC236}">
                  <a16:creationId xmlns:a16="http://schemas.microsoft.com/office/drawing/2014/main" id="{2EFE9C5E-5F8C-BB3A-EBE3-AFB4E9551134}"/>
                </a:ext>
                <a:ext uri="{C183D7F6-B498-43B3-948B-1728B52AA6E4}">
                  <adec:decorative xmlns:adec="http://schemas.microsoft.com/office/drawing/2017/decorative" val="1"/>
                </a:ext>
              </a:extLst>
            </p:cNvPr>
            <p:cNvSpPr>
              <a:spLocks noChangeAspect="1" noEditPoints="1"/>
            </p:cNvSpPr>
            <p:nvPr/>
          </p:nvSpPr>
          <p:spPr bwMode="auto">
            <a:xfrm>
              <a:off x="5076466" y="1665306"/>
              <a:ext cx="300048" cy="35784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descr="Icon of a group of three people">
            <a:extLst>
              <a:ext uri="{FF2B5EF4-FFF2-40B4-BE49-F238E27FC236}">
                <a16:creationId xmlns:a16="http://schemas.microsoft.com/office/drawing/2014/main" id="{405CBF0B-584D-CC8A-3DAE-D63BEE662A66}"/>
              </a:ext>
            </a:extLst>
          </p:cNvPr>
          <p:cNvGrpSpPr/>
          <p:nvPr/>
        </p:nvGrpSpPr>
        <p:grpSpPr>
          <a:xfrm>
            <a:off x="4170170" y="4352134"/>
            <a:ext cx="751672" cy="751672"/>
            <a:chOff x="4850654" y="3383869"/>
            <a:chExt cx="751672" cy="751672"/>
          </a:xfrm>
        </p:grpSpPr>
        <p:sp>
          <p:nvSpPr>
            <p:cNvPr id="25" name="Oval 24">
              <a:extLst>
                <a:ext uri="{FF2B5EF4-FFF2-40B4-BE49-F238E27FC236}">
                  <a16:creationId xmlns:a16="http://schemas.microsoft.com/office/drawing/2014/main" id="{FD8FD76B-7DFB-41EF-530C-4A8E896DCD43}"/>
                </a:ext>
                <a:ext uri="{C183D7F6-B498-43B3-948B-1728B52AA6E4}">
                  <adec:decorative xmlns:adec="http://schemas.microsoft.com/office/drawing/2017/decorative" val="1"/>
                </a:ext>
              </a:extLst>
            </p:cNvPr>
            <p:cNvSpPr/>
            <p:nvPr/>
          </p:nvSpPr>
          <p:spPr bwMode="auto">
            <a:xfrm>
              <a:off x="4850654" y="3383869"/>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243A5E"/>
                </a:solidFill>
                <a:effectLst/>
                <a:uLnTx/>
                <a:uFillTx/>
                <a:latin typeface="Segoe UI"/>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FEB4290C-6357-FABA-F9DB-7C8318741444}"/>
                </a:ext>
                <a:ext uri="{C183D7F6-B498-43B3-948B-1728B52AA6E4}">
                  <adec:decorative xmlns:adec="http://schemas.microsoft.com/office/drawing/2017/decorative" val="1"/>
                </a:ext>
              </a:extLst>
            </p:cNvPr>
            <p:cNvSpPr/>
            <p:nvPr/>
          </p:nvSpPr>
          <p:spPr>
            <a:xfrm>
              <a:off x="5043367" y="3600998"/>
              <a:ext cx="366246" cy="317412"/>
            </a:xfrm>
            <a:custGeom>
              <a:avLst/>
              <a:gdLst>
                <a:gd name="connsiteX0" fmla="*/ 93073 w 285750"/>
                <a:gd name="connsiteY0" fmla="*/ 118791 h 247650"/>
                <a:gd name="connsiteX1" fmla="*/ 142603 w 285750"/>
                <a:gd name="connsiteY1" fmla="*/ 68308 h 247650"/>
                <a:gd name="connsiteX2" fmla="*/ 192133 w 285750"/>
                <a:gd name="connsiteY2" fmla="*/ 118791 h 247650"/>
                <a:gd name="connsiteX3" fmla="*/ 142603 w 285750"/>
                <a:gd name="connsiteY3" fmla="*/ 169273 h 247650"/>
                <a:gd name="connsiteX4" fmla="*/ 93073 w 285750"/>
                <a:gd name="connsiteY4" fmla="*/ 118791 h 247650"/>
                <a:gd name="connsiteX5" fmla="*/ 93073 w 285750"/>
                <a:gd name="connsiteY5" fmla="*/ 118791 h 247650"/>
                <a:gd name="connsiteX6" fmla="*/ 212136 w 285750"/>
                <a:gd name="connsiteY6" fmla="*/ 241663 h 247650"/>
                <a:gd name="connsiteX7" fmla="*/ 142603 w 285750"/>
                <a:gd name="connsiteY7" fmla="*/ 171178 h 247650"/>
                <a:gd name="connsiteX8" fmla="*/ 73071 w 285750"/>
                <a:gd name="connsiteY8" fmla="*/ 241663 h 247650"/>
                <a:gd name="connsiteX9" fmla="*/ 51163 w 285750"/>
                <a:gd name="connsiteY9" fmla="*/ 70213 h 247650"/>
                <a:gd name="connsiteX10" fmla="*/ 82596 w 285750"/>
                <a:gd name="connsiteY10" fmla="*/ 38781 h 247650"/>
                <a:gd name="connsiteX11" fmla="*/ 51163 w 285750"/>
                <a:gd name="connsiteY11" fmla="*/ 7348 h 247650"/>
                <a:gd name="connsiteX12" fmla="*/ 19731 w 285750"/>
                <a:gd name="connsiteY12" fmla="*/ 38781 h 247650"/>
                <a:gd name="connsiteX13" fmla="*/ 51163 w 285750"/>
                <a:gd name="connsiteY13" fmla="*/ 70213 h 247650"/>
                <a:gd name="connsiteX14" fmla="*/ 51163 w 285750"/>
                <a:gd name="connsiteY14" fmla="*/ 70213 h 247650"/>
                <a:gd name="connsiteX15" fmla="*/ 94026 w 285750"/>
                <a:gd name="connsiteY15" fmla="*/ 114028 h 247650"/>
                <a:gd name="connsiteX16" fmla="*/ 51163 w 285750"/>
                <a:gd name="connsiteY16" fmla="*/ 70213 h 247650"/>
                <a:gd name="connsiteX17" fmla="*/ 7348 w 285750"/>
                <a:gd name="connsiteY17" fmla="*/ 114028 h 247650"/>
                <a:gd name="connsiteX18" fmla="*/ 234996 w 285750"/>
                <a:gd name="connsiteY18" fmla="*/ 70213 h 247650"/>
                <a:gd name="connsiteX19" fmla="*/ 266428 w 285750"/>
                <a:gd name="connsiteY19" fmla="*/ 38781 h 247650"/>
                <a:gd name="connsiteX20" fmla="*/ 234996 w 285750"/>
                <a:gd name="connsiteY20" fmla="*/ 7348 h 247650"/>
                <a:gd name="connsiteX21" fmla="*/ 203563 w 285750"/>
                <a:gd name="connsiteY21" fmla="*/ 38781 h 247650"/>
                <a:gd name="connsiteX22" fmla="*/ 234996 w 285750"/>
                <a:gd name="connsiteY22" fmla="*/ 70213 h 247650"/>
                <a:gd name="connsiteX23" fmla="*/ 234996 w 285750"/>
                <a:gd name="connsiteY23" fmla="*/ 70213 h 247650"/>
                <a:gd name="connsiteX24" fmla="*/ 278811 w 285750"/>
                <a:gd name="connsiteY24" fmla="*/ 114028 h 247650"/>
                <a:gd name="connsiteX25" fmla="*/ 234996 w 285750"/>
                <a:gd name="connsiteY25" fmla="*/ 70213 h 247650"/>
                <a:gd name="connsiteX26" fmla="*/ 191181 w 285750"/>
                <a:gd name="connsiteY26" fmla="*/ 11402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750" h="247650">
                  <a:moveTo>
                    <a:pt x="93073" y="118791"/>
                  </a:moveTo>
                  <a:cubicBezTo>
                    <a:pt x="93073" y="91168"/>
                    <a:pt x="115933" y="68308"/>
                    <a:pt x="142603" y="68308"/>
                  </a:cubicBezTo>
                  <a:cubicBezTo>
                    <a:pt x="170226" y="68308"/>
                    <a:pt x="192133" y="91168"/>
                    <a:pt x="192133" y="118791"/>
                  </a:cubicBezTo>
                  <a:cubicBezTo>
                    <a:pt x="192133" y="146413"/>
                    <a:pt x="170226" y="169273"/>
                    <a:pt x="142603" y="169273"/>
                  </a:cubicBezTo>
                  <a:cubicBezTo>
                    <a:pt x="114981" y="170226"/>
                    <a:pt x="93073" y="147366"/>
                    <a:pt x="93073" y="118791"/>
                  </a:cubicBezTo>
                  <a:lnTo>
                    <a:pt x="93073" y="118791"/>
                  </a:lnTo>
                  <a:close/>
                  <a:moveTo>
                    <a:pt x="212136" y="241663"/>
                  </a:moveTo>
                  <a:cubicBezTo>
                    <a:pt x="212136" y="202611"/>
                    <a:pt x="180703" y="171178"/>
                    <a:pt x="142603" y="171178"/>
                  </a:cubicBezTo>
                  <a:cubicBezTo>
                    <a:pt x="104503" y="171178"/>
                    <a:pt x="73071" y="202611"/>
                    <a:pt x="73071" y="241663"/>
                  </a:cubicBezTo>
                  <a:moveTo>
                    <a:pt x="51163" y="70213"/>
                  </a:moveTo>
                  <a:cubicBezTo>
                    <a:pt x="68308" y="70213"/>
                    <a:pt x="82596" y="55926"/>
                    <a:pt x="82596" y="38781"/>
                  </a:cubicBezTo>
                  <a:cubicBezTo>
                    <a:pt x="82596" y="21636"/>
                    <a:pt x="68308" y="7348"/>
                    <a:pt x="51163" y="7348"/>
                  </a:cubicBezTo>
                  <a:cubicBezTo>
                    <a:pt x="34018" y="7348"/>
                    <a:pt x="19731" y="21636"/>
                    <a:pt x="19731" y="38781"/>
                  </a:cubicBezTo>
                  <a:cubicBezTo>
                    <a:pt x="19731" y="55926"/>
                    <a:pt x="34018" y="70213"/>
                    <a:pt x="51163" y="70213"/>
                  </a:cubicBezTo>
                  <a:lnTo>
                    <a:pt x="51163" y="70213"/>
                  </a:lnTo>
                  <a:close/>
                  <a:moveTo>
                    <a:pt x="94026" y="114028"/>
                  </a:moveTo>
                  <a:cubicBezTo>
                    <a:pt x="94026" y="90216"/>
                    <a:pt x="74976" y="70213"/>
                    <a:pt x="51163" y="70213"/>
                  </a:cubicBezTo>
                  <a:cubicBezTo>
                    <a:pt x="27351" y="70213"/>
                    <a:pt x="7348" y="90216"/>
                    <a:pt x="7348" y="114028"/>
                  </a:cubicBezTo>
                  <a:moveTo>
                    <a:pt x="234996" y="70213"/>
                  </a:moveTo>
                  <a:cubicBezTo>
                    <a:pt x="252141" y="70213"/>
                    <a:pt x="266428" y="55926"/>
                    <a:pt x="266428" y="38781"/>
                  </a:cubicBezTo>
                  <a:cubicBezTo>
                    <a:pt x="266428" y="21636"/>
                    <a:pt x="252141" y="7348"/>
                    <a:pt x="234996" y="7348"/>
                  </a:cubicBezTo>
                  <a:cubicBezTo>
                    <a:pt x="217851" y="7348"/>
                    <a:pt x="203563" y="21636"/>
                    <a:pt x="203563" y="38781"/>
                  </a:cubicBezTo>
                  <a:cubicBezTo>
                    <a:pt x="203563" y="55926"/>
                    <a:pt x="217851" y="70213"/>
                    <a:pt x="234996" y="70213"/>
                  </a:cubicBezTo>
                  <a:lnTo>
                    <a:pt x="234996" y="70213"/>
                  </a:lnTo>
                  <a:close/>
                  <a:moveTo>
                    <a:pt x="278811" y="114028"/>
                  </a:moveTo>
                  <a:cubicBezTo>
                    <a:pt x="278811" y="90216"/>
                    <a:pt x="259761" y="70213"/>
                    <a:pt x="234996" y="70213"/>
                  </a:cubicBezTo>
                  <a:cubicBezTo>
                    <a:pt x="210231" y="70213"/>
                    <a:pt x="191181" y="90216"/>
                    <a:pt x="191181" y="114028"/>
                  </a:cubicBezTo>
                </a:path>
              </a:pathLst>
            </a:custGeom>
            <a:noFill/>
            <a:ln w="12700" cap="sq">
              <a:solidFill>
                <a:schemeClr val="tx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43A5E"/>
                </a:solidFill>
                <a:effectLst/>
                <a:uLnTx/>
                <a:uFillTx/>
                <a:latin typeface="Segoe UI"/>
                <a:ea typeface="+mn-ea"/>
                <a:cs typeface="+mn-cs"/>
              </a:endParaRPr>
            </a:p>
          </p:txBody>
        </p:sp>
      </p:grpSp>
      <p:grpSp>
        <p:nvGrpSpPr>
          <p:cNvPr id="29" name="Group 28" descr="Icon of three people with an award or ribbon to the lower right">
            <a:extLst>
              <a:ext uri="{FF2B5EF4-FFF2-40B4-BE49-F238E27FC236}">
                <a16:creationId xmlns:a16="http://schemas.microsoft.com/office/drawing/2014/main" id="{378BDED1-232E-89AD-D21C-E2468274EABC}"/>
              </a:ext>
            </a:extLst>
          </p:cNvPr>
          <p:cNvGrpSpPr/>
          <p:nvPr/>
        </p:nvGrpSpPr>
        <p:grpSpPr>
          <a:xfrm>
            <a:off x="8519425" y="4352133"/>
            <a:ext cx="751672" cy="751672"/>
            <a:chOff x="4850654" y="4341607"/>
            <a:chExt cx="751672" cy="751672"/>
          </a:xfrm>
        </p:grpSpPr>
        <p:sp>
          <p:nvSpPr>
            <p:cNvPr id="30" name="Oval 29">
              <a:extLst>
                <a:ext uri="{FF2B5EF4-FFF2-40B4-BE49-F238E27FC236}">
                  <a16:creationId xmlns:a16="http://schemas.microsoft.com/office/drawing/2014/main" id="{F0F0F355-57B9-CD8A-28AD-D530185A8629}"/>
                </a:ext>
                <a:ext uri="{C183D7F6-B498-43B3-948B-1728B52AA6E4}">
                  <adec:decorative xmlns:adec="http://schemas.microsoft.com/office/drawing/2017/decorative" val="1"/>
                </a:ext>
              </a:extLst>
            </p:cNvPr>
            <p:cNvSpPr>
              <a:spLocks/>
            </p:cNvSpPr>
            <p:nvPr/>
          </p:nvSpPr>
          <p:spPr bwMode="auto">
            <a:xfrm>
              <a:off x="4850654" y="4341607"/>
              <a:ext cx="751672" cy="751672"/>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1" name="Teamwork_EA12">
              <a:extLst>
                <a:ext uri="{FF2B5EF4-FFF2-40B4-BE49-F238E27FC236}">
                  <a16:creationId xmlns:a16="http://schemas.microsoft.com/office/drawing/2014/main" id="{2B742528-73E9-B51F-7FE5-E4B7AB6C1218}"/>
                </a:ext>
                <a:ext uri="{C183D7F6-B498-43B3-948B-1728B52AA6E4}">
                  <adec:decorative xmlns:adec="http://schemas.microsoft.com/office/drawing/2017/decorative" val="1"/>
                </a:ext>
              </a:extLst>
            </p:cNvPr>
            <p:cNvSpPr>
              <a:spLocks noChangeAspect="1" noEditPoints="1"/>
            </p:cNvSpPr>
            <p:nvPr/>
          </p:nvSpPr>
          <p:spPr bwMode="auto">
            <a:xfrm>
              <a:off x="5026595" y="4524132"/>
              <a:ext cx="399791" cy="386622"/>
            </a:xfrm>
            <a:custGeom>
              <a:avLst/>
              <a:gdLst>
                <a:gd name="T0" fmla="*/ 3621 w 3746"/>
                <a:gd name="T1" fmla="*/ 2622 h 3621"/>
                <a:gd name="T2" fmla="*/ 3122 w 3746"/>
                <a:gd name="T3" fmla="*/ 3122 h 3621"/>
                <a:gd name="T4" fmla="*/ 2622 w 3746"/>
                <a:gd name="T5" fmla="*/ 2622 h 3621"/>
                <a:gd name="T6" fmla="*/ 3122 w 3746"/>
                <a:gd name="T7" fmla="*/ 2123 h 3621"/>
                <a:gd name="T8" fmla="*/ 3621 w 3746"/>
                <a:gd name="T9" fmla="*/ 2622 h 3621"/>
                <a:gd name="T10" fmla="*/ 2747 w 3746"/>
                <a:gd name="T11" fmla="*/ 2997 h 3621"/>
                <a:gd name="T12" fmla="*/ 2747 w 3746"/>
                <a:gd name="T13" fmla="*/ 3621 h 3621"/>
                <a:gd name="T14" fmla="*/ 3122 w 3746"/>
                <a:gd name="T15" fmla="*/ 3434 h 3621"/>
                <a:gd name="T16" fmla="*/ 3496 w 3746"/>
                <a:gd name="T17" fmla="*/ 3621 h 3621"/>
                <a:gd name="T18" fmla="*/ 3496 w 3746"/>
                <a:gd name="T19" fmla="*/ 2997 h 3621"/>
                <a:gd name="T20" fmla="*/ 1873 w 3746"/>
                <a:gd name="T21" fmla="*/ 749 h 3621"/>
                <a:gd name="T22" fmla="*/ 1249 w 3746"/>
                <a:gd name="T23" fmla="*/ 1374 h 3621"/>
                <a:gd name="T24" fmla="*/ 1873 w 3746"/>
                <a:gd name="T25" fmla="*/ 1998 h 3621"/>
                <a:gd name="T26" fmla="*/ 2497 w 3746"/>
                <a:gd name="T27" fmla="*/ 1374 h 3621"/>
                <a:gd name="T28" fmla="*/ 1873 w 3746"/>
                <a:gd name="T29" fmla="*/ 749 h 3621"/>
                <a:gd name="T30" fmla="*/ 1873 w 3746"/>
                <a:gd name="T31" fmla="*/ 1998 h 3621"/>
                <a:gd name="T32" fmla="*/ 999 w 3746"/>
                <a:gd name="T33" fmla="*/ 2872 h 3621"/>
                <a:gd name="T34" fmla="*/ 624 w 3746"/>
                <a:gd name="T35" fmla="*/ 0 h 3621"/>
                <a:gd name="T36" fmla="*/ 250 w 3746"/>
                <a:gd name="T37" fmla="*/ 375 h 3621"/>
                <a:gd name="T38" fmla="*/ 624 w 3746"/>
                <a:gd name="T39" fmla="*/ 749 h 3621"/>
                <a:gd name="T40" fmla="*/ 999 w 3746"/>
                <a:gd name="T41" fmla="*/ 375 h 3621"/>
                <a:gd name="T42" fmla="*/ 624 w 3746"/>
                <a:gd name="T43" fmla="*/ 0 h 3621"/>
                <a:gd name="T44" fmla="*/ 1249 w 3746"/>
                <a:gd name="T45" fmla="*/ 1374 h 3621"/>
                <a:gd name="T46" fmla="*/ 624 w 3746"/>
                <a:gd name="T47" fmla="*/ 749 h 3621"/>
                <a:gd name="T48" fmla="*/ 0 w 3746"/>
                <a:gd name="T49" fmla="*/ 1374 h 3621"/>
                <a:gd name="T50" fmla="*/ 3122 w 3746"/>
                <a:gd name="T51" fmla="*/ 0 h 3621"/>
                <a:gd name="T52" fmla="*/ 2747 w 3746"/>
                <a:gd name="T53" fmla="*/ 375 h 3621"/>
                <a:gd name="T54" fmla="*/ 3122 w 3746"/>
                <a:gd name="T55" fmla="*/ 749 h 3621"/>
                <a:gd name="T56" fmla="*/ 3496 w 3746"/>
                <a:gd name="T57" fmla="*/ 375 h 3621"/>
                <a:gd name="T58" fmla="*/ 3122 w 3746"/>
                <a:gd name="T59" fmla="*/ 0 h 3621"/>
                <a:gd name="T60" fmla="*/ 3746 w 3746"/>
                <a:gd name="T61" fmla="*/ 1374 h 3621"/>
                <a:gd name="T62" fmla="*/ 3122 w 3746"/>
                <a:gd name="T63" fmla="*/ 749 h 3621"/>
                <a:gd name="T64" fmla="*/ 2497 w 3746"/>
                <a:gd name="T65" fmla="*/ 1374 h 3621"/>
                <a:gd name="T66" fmla="*/ 2381 w 3746"/>
                <a:gd name="T67" fmla="*/ 2163 h 3621"/>
                <a:gd name="T68" fmla="*/ 1873 w 3746"/>
                <a:gd name="T69" fmla="*/ 1998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6" h="3621">
                  <a:moveTo>
                    <a:pt x="3621" y="2622"/>
                  </a:moveTo>
                  <a:cubicBezTo>
                    <a:pt x="3621" y="2898"/>
                    <a:pt x="3398" y="3122"/>
                    <a:pt x="3122" y="3122"/>
                  </a:cubicBezTo>
                  <a:cubicBezTo>
                    <a:pt x="2846" y="3122"/>
                    <a:pt x="2622" y="2898"/>
                    <a:pt x="2622" y="2622"/>
                  </a:cubicBezTo>
                  <a:cubicBezTo>
                    <a:pt x="2622" y="2346"/>
                    <a:pt x="2846" y="2123"/>
                    <a:pt x="3122" y="2123"/>
                  </a:cubicBezTo>
                  <a:cubicBezTo>
                    <a:pt x="3398" y="2123"/>
                    <a:pt x="3621" y="2346"/>
                    <a:pt x="3621" y="2622"/>
                  </a:cubicBezTo>
                  <a:close/>
                  <a:moveTo>
                    <a:pt x="2747" y="2997"/>
                  </a:moveTo>
                  <a:cubicBezTo>
                    <a:pt x="2747" y="3621"/>
                    <a:pt x="2747" y="3621"/>
                    <a:pt x="2747" y="3621"/>
                  </a:cubicBezTo>
                  <a:cubicBezTo>
                    <a:pt x="3122" y="3434"/>
                    <a:pt x="3122" y="3434"/>
                    <a:pt x="3122" y="3434"/>
                  </a:cubicBezTo>
                  <a:cubicBezTo>
                    <a:pt x="3496" y="3621"/>
                    <a:pt x="3496" y="3621"/>
                    <a:pt x="3496" y="3621"/>
                  </a:cubicBezTo>
                  <a:cubicBezTo>
                    <a:pt x="3496" y="2997"/>
                    <a:pt x="3496" y="2997"/>
                    <a:pt x="3496" y="2997"/>
                  </a:cubicBezTo>
                  <a:moveTo>
                    <a:pt x="1873" y="749"/>
                  </a:moveTo>
                  <a:cubicBezTo>
                    <a:pt x="1528" y="749"/>
                    <a:pt x="1249" y="1029"/>
                    <a:pt x="1249" y="1374"/>
                  </a:cubicBezTo>
                  <a:cubicBezTo>
                    <a:pt x="1249" y="1718"/>
                    <a:pt x="1528" y="1998"/>
                    <a:pt x="1873" y="1998"/>
                  </a:cubicBezTo>
                  <a:cubicBezTo>
                    <a:pt x="2218" y="1998"/>
                    <a:pt x="2497" y="1718"/>
                    <a:pt x="2497" y="1374"/>
                  </a:cubicBezTo>
                  <a:cubicBezTo>
                    <a:pt x="2497" y="1029"/>
                    <a:pt x="2218" y="749"/>
                    <a:pt x="1873" y="749"/>
                  </a:cubicBezTo>
                  <a:close/>
                  <a:moveTo>
                    <a:pt x="1873" y="1998"/>
                  </a:moveTo>
                  <a:cubicBezTo>
                    <a:pt x="1390" y="1998"/>
                    <a:pt x="999" y="2389"/>
                    <a:pt x="999" y="2872"/>
                  </a:cubicBezTo>
                  <a:moveTo>
                    <a:pt x="624" y="0"/>
                  </a:moveTo>
                  <a:cubicBezTo>
                    <a:pt x="417" y="0"/>
                    <a:pt x="250" y="168"/>
                    <a:pt x="250" y="375"/>
                  </a:cubicBezTo>
                  <a:cubicBezTo>
                    <a:pt x="250" y="581"/>
                    <a:pt x="417" y="749"/>
                    <a:pt x="624" y="749"/>
                  </a:cubicBezTo>
                  <a:cubicBezTo>
                    <a:pt x="831" y="749"/>
                    <a:pt x="999" y="581"/>
                    <a:pt x="999" y="375"/>
                  </a:cubicBezTo>
                  <a:cubicBezTo>
                    <a:pt x="999" y="168"/>
                    <a:pt x="831" y="0"/>
                    <a:pt x="624" y="0"/>
                  </a:cubicBezTo>
                  <a:close/>
                  <a:moveTo>
                    <a:pt x="1249" y="1374"/>
                  </a:moveTo>
                  <a:cubicBezTo>
                    <a:pt x="1249" y="1029"/>
                    <a:pt x="969" y="749"/>
                    <a:pt x="624" y="749"/>
                  </a:cubicBezTo>
                  <a:cubicBezTo>
                    <a:pt x="279" y="749"/>
                    <a:pt x="0" y="1029"/>
                    <a:pt x="0" y="1374"/>
                  </a:cubicBezTo>
                  <a:moveTo>
                    <a:pt x="3122" y="0"/>
                  </a:moveTo>
                  <a:cubicBezTo>
                    <a:pt x="2915" y="0"/>
                    <a:pt x="2747" y="168"/>
                    <a:pt x="2747" y="375"/>
                  </a:cubicBezTo>
                  <a:cubicBezTo>
                    <a:pt x="2747" y="581"/>
                    <a:pt x="2915" y="749"/>
                    <a:pt x="3122" y="749"/>
                  </a:cubicBezTo>
                  <a:cubicBezTo>
                    <a:pt x="3329" y="749"/>
                    <a:pt x="3496" y="581"/>
                    <a:pt x="3496" y="375"/>
                  </a:cubicBezTo>
                  <a:cubicBezTo>
                    <a:pt x="3496" y="168"/>
                    <a:pt x="3329" y="0"/>
                    <a:pt x="3122" y="0"/>
                  </a:cubicBezTo>
                  <a:close/>
                  <a:moveTo>
                    <a:pt x="3746" y="1374"/>
                  </a:moveTo>
                  <a:cubicBezTo>
                    <a:pt x="3746" y="1029"/>
                    <a:pt x="3467" y="749"/>
                    <a:pt x="3122" y="749"/>
                  </a:cubicBezTo>
                  <a:cubicBezTo>
                    <a:pt x="2777" y="749"/>
                    <a:pt x="2497" y="1029"/>
                    <a:pt x="2497" y="1374"/>
                  </a:cubicBezTo>
                  <a:moveTo>
                    <a:pt x="2381" y="2163"/>
                  </a:moveTo>
                  <a:cubicBezTo>
                    <a:pt x="2238" y="2060"/>
                    <a:pt x="2063" y="1998"/>
                    <a:pt x="1873" y="1998"/>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2" name="TextBox 1">
            <a:extLst>
              <a:ext uri="{FF2B5EF4-FFF2-40B4-BE49-F238E27FC236}">
                <a16:creationId xmlns:a16="http://schemas.microsoft.com/office/drawing/2014/main" id="{D776DC80-9ED6-BE9A-B901-7BF9D79E7A11}"/>
              </a:ext>
            </a:extLst>
          </p:cNvPr>
          <p:cNvSpPr txBox="1"/>
          <p:nvPr/>
        </p:nvSpPr>
        <p:spPr>
          <a:xfrm>
            <a:off x="1066534" y="4530055"/>
            <a:ext cx="2894781" cy="5170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lnSpc>
                <a:spcPct val="90000"/>
              </a:lnSpc>
              <a:spcAft>
                <a:spcPts val="600"/>
              </a:spcAft>
              <a:defRPr/>
            </a:pPr>
            <a:r>
              <a:rPr lang="en-US" sz="1600" dirty="0">
                <a:latin typeface="Segoe UI"/>
              </a:rPr>
              <a:t>Setup Pipeline in &lt; 2 min</a:t>
            </a:r>
          </a:p>
        </p:txBody>
      </p:sp>
      <p:sp>
        <p:nvSpPr>
          <p:cNvPr id="33" name="TextBox 1">
            <a:extLst>
              <a:ext uri="{FF2B5EF4-FFF2-40B4-BE49-F238E27FC236}">
                <a16:creationId xmlns:a16="http://schemas.microsoft.com/office/drawing/2014/main" id="{D1F7B64A-C4D1-F655-C59D-520EC357C07C}"/>
              </a:ext>
            </a:extLst>
          </p:cNvPr>
          <p:cNvSpPr txBox="1"/>
          <p:nvPr/>
        </p:nvSpPr>
        <p:spPr>
          <a:xfrm>
            <a:off x="-182915" y="5208385"/>
            <a:ext cx="1820252" cy="18466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b="1" dirty="0">
                <a:latin typeface="Segoe UI"/>
              </a:rPr>
              <a:t>Admins</a:t>
            </a:r>
            <a:endParaRPr lang="en-US" sz="1200" b="1" dirty="0">
              <a:latin typeface="Segoe UI"/>
              <a:cs typeface="Segoe UI"/>
            </a:endParaRPr>
          </a:p>
        </p:txBody>
      </p:sp>
      <p:sp>
        <p:nvSpPr>
          <p:cNvPr id="34" name="TextBox 1">
            <a:extLst>
              <a:ext uri="{FF2B5EF4-FFF2-40B4-BE49-F238E27FC236}">
                <a16:creationId xmlns:a16="http://schemas.microsoft.com/office/drawing/2014/main" id="{A7A34423-DC77-CDD9-CA9E-F8B0B43801C0}"/>
              </a:ext>
            </a:extLst>
          </p:cNvPr>
          <p:cNvSpPr txBox="1"/>
          <p:nvPr/>
        </p:nvSpPr>
        <p:spPr>
          <a:xfrm>
            <a:off x="3635880" y="5219003"/>
            <a:ext cx="1820252" cy="18466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b="1" dirty="0">
                <a:latin typeface="Segoe UI"/>
              </a:rPr>
              <a:t>Citizen developers</a:t>
            </a:r>
            <a:endParaRPr lang="en-US" sz="1200" b="1" dirty="0">
              <a:latin typeface="Segoe UI"/>
              <a:cs typeface="Segoe UI"/>
            </a:endParaRPr>
          </a:p>
        </p:txBody>
      </p:sp>
      <p:sp>
        <p:nvSpPr>
          <p:cNvPr id="35" name="TextBox 1">
            <a:extLst>
              <a:ext uri="{FF2B5EF4-FFF2-40B4-BE49-F238E27FC236}">
                <a16:creationId xmlns:a16="http://schemas.microsoft.com/office/drawing/2014/main" id="{474F84DA-B0D8-D1AC-6D21-F1146638A99B}"/>
              </a:ext>
            </a:extLst>
          </p:cNvPr>
          <p:cNvSpPr txBox="1"/>
          <p:nvPr/>
        </p:nvSpPr>
        <p:spPr>
          <a:xfrm>
            <a:off x="4925900" y="4521161"/>
            <a:ext cx="3317556" cy="5170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lnSpc>
                <a:spcPct val="90000"/>
              </a:lnSpc>
              <a:spcAft>
                <a:spcPts val="600"/>
              </a:spcAft>
              <a:defRPr/>
            </a:pPr>
            <a:r>
              <a:rPr lang="en-US" sz="1600" dirty="0">
                <a:latin typeface="Segoe UI"/>
              </a:rPr>
              <a:t>Initiate automated deployments</a:t>
            </a:r>
          </a:p>
        </p:txBody>
      </p:sp>
      <p:sp>
        <p:nvSpPr>
          <p:cNvPr id="36" name="TextBox 1">
            <a:extLst>
              <a:ext uri="{FF2B5EF4-FFF2-40B4-BE49-F238E27FC236}">
                <a16:creationId xmlns:a16="http://schemas.microsoft.com/office/drawing/2014/main" id="{DCA164A7-B385-BFAA-9270-6A5F35B5C474}"/>
              </a:ext>
            </a:extLst>
          </p:cNvPr>
          <p:cNvSpPr txBox="1"/>
          <p:nvPr/>
        </p:nvSpPr>
        <p:spPr>
          <a:xfrm>
            <a:off x="7985135" y="5219003"/>
            <a:ext cx="1820252" cy="18466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b="1" dirty="0">
                <a:latin typeface="Segoe UI"/>
              </a:rPr>
              <a:t>Developers</a:t>
            </a:r>
            <a:endParaRPr lang="en-US" sz="1200" b="1" dirty="0">
              <a:latin typeface="Segoe UI"/>
              <a:cs typeface="Segoe UI"/>
            </a:endParaRPr>
          </a:p>
        </p:txBody>
      </p:sp>
      <p:sp>
        <p:nvSpPr>
          <p:cNvPr id="38" name="TextBox 1">
            <a:extLst>
              <a:ext uri="{FF2B5EF4-FFF2-40B4-BE49-F238E27FC236}">
                <a16:creationId xmlns:a16="http://schemas.microsoft.com/office/drawing/2014/main" id="{F1251AE1-BEE9-84E6-48EA-165157830C58}"/>
              </a:ext>
            </a:extLst>
          </p:cNvPr>
          <p:cNvSpPr txBox="1"/>
          <p:nvPr/>
        </p:nvSpPr>
        <p:spPr>
          <a:xfrm>
            <a:off x="9297219" y="4485841"/>
            <a:ext cx="2894781" cy="5170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lnSpc>
                <a:spcPct val="90000"/>
              </a:lnSpc>
              <a:spcAft>
                <a:spcPts val="600"/>
              </a:spcAft>
              <a:defRPr/>
            </a:pPr>
            <a:r>
              <a:rPr lang="en-US" sz="1600" dirty="0">
                <a:latin typeface="Segoe UI"/>
              </a:rPr>
              <a:t>Run pipelines via CLI</a:t>
            </a:r>
          </a:p>
        </p:txBody>
      </p:sp>
    </p:spTree>
    <p:custDataLst>
      <p:tags r:id="rId1"/>
    </p:custDataLst>
    <p:extLst>
      <p:ext uri="{BB962C8B-B14F-4D97-AF65-F5344CB8AC3E}">
        <p14:creationId xmlns:p14="http://schemas.microsoft.com/office/powerpoint/2010/main" val="15612296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26"/>
                                        </p:tgtEl>
                                        <p:attrNameLst>
                                          <p:attrName>style.visibility</p:attrName>
                                        </p:attrNameLst>
                                      </p:cBhvr>
                                      <p:to>
                                        <p:strVal val="visible"/>
                                      </p:to>
                                    </p:set>
                                    <p:animEffect transition="in" filter="fade">
                                      <p:cBhvr>
                                        <p:cTn id="31" dur="500"/>
                                        <p:tgtEl>
                                          <p:spTgt spid="1026"/>
                                        </p:tgtEl>
                                      </p:cBhvr>
                                    </p:animEffect>
                                  </p:childTnLst>
                                </p:cTn>
                              </p:par>
                              <p:par>
                                <p:cTn id="32" presetID="10" presetClass="entr" presetSubtype="0"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5" grpId="0"/>
      <p:bldP spid="36" grpId="0"/>
      <p:bldP spid="3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Licensing Required to Use Pipeline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1264614"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No pipelines specific enforcement will be added until later in 2023.</a:t>
            </a:r>
          </a:p>
          <a:p>
            <a:r>
              <a:rPr lang="en-US" dirty="0"/>
              <a:t>Standalone licenses </a:t>
            </a:r>
            <a:r>
              <a:rPr lang="en-US" b="1" dirty="0"/>
              <a:t>won't</a:t>
            </a:r>
            <a:r>
              <a:rPr lang="en-US" dirty="0"/>
              <a:t> be required to use developer or trial type environments in pipelines.</a:t>
            </a:r>
          </a:p>
          <a:p>
            <a:r>
              <a:rPr lang="en-US" dirty="0"/>
              <a:t>When pipelines standalone licensing is enforced, end users within any production environment(s) linked to pipelines </a:t>
            </a:r>
            <a:r>
              <a:rPr lang="en-US" b="1" dirty="0"/>
              <a:t>will</a:t>
            </a:r>
            <a:r>
              <a:rPr lang="en-US" dirty="0"/>
              <a:t> require a standalone license for either Power Apps, Power Automate, or Dynamics 365. Makers generally won't require a standalone license unless they're also an end user.</a:t>
            </a:r>
          </a:p>
          <a:p>
            <a:endParaRPr lang="en-US" dirty="0"/>
          </a:p>
          <a:p>
            <a:pPr marL="0" indent="0">
              <a:spcBef>
                <a:spcPts val="1200"/>
              </a:spcBef>
              <a:spcAft>
                <a:spcPts val="1200"/>
              </a:spcAft>
              <a:buNone/>
            </a:pPr>
            <a:endParaRPr lang="en-US" dirty="0"/>
          </a:p>
        </p:txBody>
      </p:sp>
      <p:sp>
        <p:nvSpPr>
          <p:cNvPr id="2" name="Footer Placeholder 2">
            <a:extLst>
              <a:ext uri="{FF2B5EF4-FFF2-40B4-BE49-F238E27FC236}">
                <a16:creationId xmlns:a16="http://schemas.microsoft.com/office/drawing/2014/main" id="{77C2B420-1CC5-0B0C-8259-B34A64D8F45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graphicFrame>
        <p:nvGraphicFramePr>
          <p:cNvPr id="4" name="Table 4">
            <a:extLst>
              <a:ext uri="{FF2B5EF4-FFF2-40B4-BE49-F238E27FC236}">
                <a16:creationId xmlns:a16="http://schemas.microsoft.com/office/drawing/2014/main" id="{B8892D38-01C4-4EDE-5F12-A2F0B3100714}"/>
              </a:ext>
            </a:extLst>
          </p:cNvPr>
          <p:cNvGraphicFramePr>
            <a:graphicFrameLocks noGrp="1"/>
          </p:cNvGraphicFramePr>
          <p:nvPr>
            <p:extLst>
              <p:ext uri="{D42A27DB-BD31-4B8C-83A1-F6EECF244321}">
                <p14:modId xmlns:p14="http://schemas.microsoft.com/office/powerpoint/2010/main" val="3580462477"/>
              </p:ext>
            </p:extLst>
          </p:nvPr>
        </p:nvGraphicFramePr>
        <p:xfrm>
          <a:off x="1231186" y="4151235"/>
          <a:ext cx="9873465" cy="1854200"/>
        </p:xfrm>
        <a:graphic>
          <a:graphicData uri="http://schemas.openxmlformats.org/drawingml/2006/table">
            <a:tbl>
              <a:tblPr firstRow="1" bandRow="1">
                <a:tableStyleId>{21E4AEA4-8DFA-4A89-87EB-49C32662AFE0}</a:tableStyleId>
              </a:tblPr>
              <a:tblGrid>
                <a:gridCol w="3291155">
                  <a:extLst>
                    <a:ext uri="{9D8B030D-6E8A-4147-A177-3AD203B41FA5}">
                      <a16:colId xmlns:a16="http://schemas.microsoft.com/office/drawing/2014/main" val="1919440968"/>
                    </a:ext>
                  </a:extLst>
                </a:gridCol>
                <a:gridCol w="3291155">
                  <a:extLst>
                    <a:ext uri="{9D8B030D-6E8A-4147-A177-3AD203B41FA5}">
                      <a16:colId xmlns:a16="http://schemas.microsoft.com/office/drawing/2014/main" val="2514204208"/>
                    </a:ext>
                  </a:extLst>
                </a:gridCol>
                <a:gridCol w="3291155">
                  <a:extLst>
                    <a:ext uri="{9D8B030D-6E8A-4147-A177-3AD203B41FA5}">
                      <a16:colId xmlns:a16="http://schemas.microsoft.com/office/drawing/2014/main" val="3563730773"/>
                    </a:ext>
                  </a:extLst>
                </a:gridCol>
              </a:tblGrid>
              <a:tr h="370840">
                <a:tc>
                  <a:txBody>
                    <a:bodyPr/>
                    <a:lstStyle/>
                    <a:p>
                      <a:pPr algn="ctr"/>
                      <a:r>
                        <a:rPr lang="en-US" dirty="0"/>
                        <a:t>Environment Purpose</a:t>
                      </a:r>
                    </a:p>
                  </a:txBody>
                  <a:tcPr/>
                </a:tc>
                <a:tc>
                  <a:txBody>
                    <a:bodyPr/>
                    <a:lstStyle/>
                    <a:p>
                      <a:pPr algn="ctr"/>
                      <a:r>
                        <a:rPr lang="en-US" dirty="0"/>
                        <a:t>Environment Type</a:t>
                      </a:r>
                    </a:p>
                  </a:txBody>
                  <a:tcPr/>
                </a:tc>
                <a:tc>
                  <a:txBody>
                    <a:bodyPr/>
                    <a:lstStyle/>
                    <a:p>
                      <a:pPr algn="ctr"/>
                      <a:r>
                        <a:rPr lang="en-US" dirty="0"/>
                        <a:t>Standalone license required</a:t>
                      </a:r>
                    </a:p>
                  </a:txBody>
                  <a:tcPr/>
                </a:tc>
                <a:extLst>
                  <a:ext uri="{0D108BD9-81ED-4DB2-BD59-A6C34878D82A}">
                    <a16:rowId xmlns:a16="http://schemas.microsoft.com/office/drawing/2014/main" val="1545343343"/>
                  </a:ext>
                </a:extLst>
              </a:tr>
              <a:tr h="370840">
                <a:tc>
                  <a:txBody>
                    <a:bodyPr/>
                    <a:lstStyle/>
                    <a:p>
                      <a:r>
                        <a:rPr lang="en-US" dirty="0"/>
                        <a:t>Host</a:t>
                      </a:r>
                    </a:p>
                  </a:txBody>
                  <a:tcPr/>
                </a:tc>
                <a:tc>
                  <a:txBody>
                    <a:bodyPr/>
                    <a:lstStyle/>
                    <a:p>
                      <a:r>
                        <a:rPr lang="en-US" dirty="0"/>
                        <a:t>Production</a:t>
                      </a:r>
                    </a:p>
                  </a:txBody>
                  <a:tcPr/>
                </a:tc>
                <a:tc>
                  <a:txBody>
                    <a:bodyPr/>
                    <a:lstStyle/>
                    <a:p>
                      <a:r>
                        <a:rPr lang="en-US" dirty="0"/>
                        <a:t>No</a:t>
                      </a:r>
                    </a:p>
                  </a:txBody>
                  <a:tcPr/>
                </a:tc>
                <a:extLst>
                  <a:ext uri="{0D108BD9-81ED-4DB2-BD59-A6C34878D82A}">
                    <a16:rowId xmlns:a16="http://schemas.microsoft.com/office/drawing/2014/main" val="249753213"/>
                  </a:ext>
                </a:extLst>
              </a:tr>
              <a:tr h="370840">
                <a:tc>
                  <a:txBody>
                    <a:bodyPr/>
                    <a:lstStyle/>
                    <a:p>
                      <a:r>
                        <a:rPr lang="en-US" dirty="0"/>
                        <a:t>Development</a:t>
                      </a:r>
                    </a:p>
                  </a:txBody>
                  <a:tcPr/>
                </a:tc>
                <a:tc>
                  <a:txBody>
                    <a:bodyPr/>
                    <a:lstStyle/>
                    <a:p>
                      <a:r>
                        <a:rPr lang="en-US" dirty="0"/>
                        <a:t>Developer</a:t>
                      </a:r>
                    </a:p>
                  </a:txBody>
                  <a:tcPr/>
                </a:tc>
                <a:tc>
                  <a:txBody>
                    <a:bodyPr/>
                    <a:lstStyle/>
                    <a:p>
                      <a:r>
                        <a:rPr lang="en-US" dirty="0"/>
                        <a:t>No</a:t>
                      </a:r>
                    </a:p>
                  </a:txBody>
                  <a:tcPr/>
                </a:tc>
                <a:extLst>
                  <a:ext uri="{0D108BD9-81ED-4DB2-BD59-A6C34878D82A}">
                    <a16:rowId xmlns:a16="http://schemas.microsoft.com/office/drawing/2014/main" val="1448321851"/>
                  </a:ext>
                </a:extLst>
              </a:tr>
              <a:tr h="370840">
                <a:tc>
                  <a:txBody>
                    <a:bodyPr/>
                    <a:lstStyle/>
                    <a:p>
                      <a:r>
                        <a:rPr lang="en-US" dirty="0"/>
                        <a:t>QA/Test</a:t>
                      </a:r>
                    </a:p>
                  </a:txBody>
                  <a:tcPr/>
                </a:tc>
                <a:tc>
                  <a:txBody>
                    <a:bodyPr/>
                    <a:lstStyle/>
                    <a:p>
                      <a:r>
                        <a:rPr lang="en-US" dirty="0"/>
                        <a:t>Developer</a:t>
                      </a:r>
                    </a:p>
                  </a:txBody>
                  <a:tcPr/>
                </a:tc>
                <a:tc>
                  <a:txBody>
                    <a:bodyPr/>
                    <a:lstStyle/>
                    <a:p>
                      <a:r>
                        <a:rPr lang="en-US" dirty="0"/>
                        <a:t>No</a:t>
                      </a:r>
                    </a:p>
                  </a:txBody>
                  <a:tcPr/>
                </a:tc>
                <a:extLst>
                  <a:ext uri="{0D108BD9-81ED-4DB2-BD59-A6C34878D82A}">
                    <a16:rowId xmlns:a16="http://schemas.microsoft.com/office/drawing/2014/main" val="1119704210"/>
                  </a:ext>
                </a:extLst>
              </a:tr>
              <a:tr h="370840">
                <a:tc>
                  <a:txBody>
                    <a:bodyPr/>
                    <a:lstStyle/>
                    <a:p>
                      <a:r>
                        <a:rPr lang="en-US" dirty="0"/>
                        <a:t>Production</a:t>
                      </a:r>
                    </a:p>
                  </a:txBody>
                  <a:tcPr/>
                </a:tc>
                <a:tc>
                  <a:txBody>
                    <a:bodyPr/>
                    <a:lstStyle/>
                    <a:p>
                      <a:r>
                        <a:rPr lang="en-US" dirty="0"/>
                        <a:t>Production</a:t>
                      </a:r>
                    </a:p>
                  </a:txBody>
                  <a:tcPr/>
                </a:tc>
                <a:tc>
                  <a:txBody>
                    <a:bodyPr/>
                    <a:lstStyle/>
                    <a:p>
                      <a:r>
                        <a:rPr lang="en-US" dirty="0"/>
                        <a:t>Yes</a:t>
                      </a:r>
                    </a:p>
                  </a:txBody>
                  <a:tcPr/>
                </a:tc>
                <a:extLst>
                  <a:ext uri="{0D108BD9-81ED-4DB2-BD59-A6C34878D82A}">
                    <a16:rowId xmlns:a16="http://schemas.microsoft.com/office/drawing/2014/main" val="3656138203"/>
                  </a:ext>
                </a:extLst>
              </a:tr>
            </a:tbl>
          </a:graphicData>
        </a:graphic>
      </p:graphicFrame>
    </p:spTree>
    <p:custDataLst>
      <p:tags r:id="rId1"/>
    </p:custDataLst>
    <p:extLst>
      <p:ext uri="{BB962C8B-B14F-4D97-AF65-F5344CB8AC3E}">
        <p14:creationId xmlns:p14="http://schemas.microsoft.com/office/powerpoint/2010/main" val="2393136020"/>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et up pipelines in Power Platform</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1264614"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1800" b="1" dirty="0"/>
              <a:t>Prerequisites</a:t>
            </a:r>
          </a:p>
          <a:p>
            <a:pPr algn="l">
              <a:buFont typeface="Arial" panose="020B0604020202020204" pitchFamily="34" charset="0"/>
              <a:buChar char="•"/>
            </a:pPr>
            <a:r>
              <a:rPr lang="en-US" sz="1600" dirty="0">
                <a:solidFill>
                  <a:schemeClr val="accent5"/>
                </a:solidFill>
              </a:rPr>
              <a:t>Four</a:t>
            </a:r>
            <a:r>
              <a:rPr lang="en-US" sz="1600" dirty="0"/>
              <a:t> environments are recommended, but you can use as few as three Power Platform environments to create a pipeline.</a:t>
            </a:r>
          </a:p>
          <a:p>
            <a:pPr algn="l">
              <a:buFont typeface="Arial" panose="020B0604020202020204" pitchFamily="34" charset="0"/>
              <a:buChar char="•"/>
            </a:pPr>
            <a:r>
              <a:rPr lang="en-US" sz="1600" dirty="0"/>
              <a:t>All environments used in pipelines must have a Microsoft Dataverse database.</a:t>
            </a:r>
          </a:p>
          <a:p>
            <a:pPr algn="l">
              <a:buFont typeface="Arial" panose="020B0604020202020204" pitchFamily="34" charset="0"/>
              <a:buChar char="•"/>
            </a:pPr>
            <a:r>
              <a:rPr lang="en-US" sz="1600" dirty="0"/>
              <a:t>Microsoft Dataverse for Teams environments aren't currently supported for use with pipelines.</a:t>
            </a:r>
          </a:p>
          <a:p>
            <a:pPr algn="l">
              <a:buFont typeface="Arial" panose="020B0604020202020204" pitchFamily="34" charset="0"/>
              <a:buChar char="•"/>
            </a:pPr>
            <a:r>
              <a:rPr lang="en-US" sz="1600" dirty="0"/>
              <a:t>You must have a Power Platform administrator or Dataverse system administrator role.</a:t>
            </a:r>
          </a:p>
          <a:p>
            <a:pPr marL="0" indent="0" algn="l">
              <a:buNone/>
            </a:pPr>
            <a:endParaRPr lang="en-US" sz="1800" b="1" dirty="0"/>
          </a:p>
          <a:p>
            <a:pPr marL="0" indent="0" algn="l">
              <a:buNone/>
            </a:pPr>
            <a:r>
              <a:rPr lang="en-US" sz="1800" b="1" dirty="0"/>
              <a:t>Setup </a:t>
            </a:r>
          </a:p>
          <a:p>
            <a:pPr marL="342900" indent="-342900" algn="l">
              <a:buFont typeface="+mj-lt"/>
              <a:buAutoNum type="arabicPeriod"/>
            </a:pPr>
            <a:r>
              <a:rPr lang="en-US" sz="1800" dirty="0">
                <a:hlinkClick r:id="rId5"/>
              </a:rPr>
              <a:t>Choose environment for pipelines</a:t>
            </a:r>
            <a:r>
              <a:rPr lang="en-US" sz="1800" dirty="0"/>
              <a:t> – four are recommend, example, Host, Dev, QA, Production.</a:t>
            </a:r>
          </a:p>
          <a:p>
            <a:pPr marL="342900" indent="-342900" algn="l">
              <a:buFont typeface="+mj-lt"/>
              <a:buAutoNum type="arabicPeriod"/>
            </a:pPr>
            <a:r>
              <a:rPr lang="en-US" sz="1800" dirty="0">
                <a:hlinkClick r:id="rId6"/>
              </a:rPr>
              <a:t>Install the pipelines application in your host environment</a:t>
            </a:r>
            <a:endParaRPr lang="en-US" sz="1800" dirty="0"/>
          </a:p>
          <a:p>
            <a:pPr marL="342900" indent="-342900" algn="l">
              <a:buFont typeface="+mj-lt"/>
              <a:buAutoNum type="arabicPeriod"/>
            </a:pPr>
            <a:r>
              <a:rPr lang="en-US" sz="1800" dirty="0">
                <a:hlinkClick r:id="rId7"/>
              </a:rPr>
              <a:t>Configure a deployment pipeline</a:t>
            </a:r>
            <a:endParaRPr lang="en-US" sz="1800" dirty="0"/>
          </a:p>
          <a:p>
            <a:pPr marL="342900" indent="-342900" algn="l">
              <a:buFont typeface="+mj-lt"/>
              <a:buAutoNum type="arabicPeriod"/>
            </a:pPr>
            <a:r>
              <a:rPr lang="en-US" sz="1800" dirty="0">
                <a:hlinkClick r:id="rId8"/>
              </a:rPr>
              <a:t>Grant access to edit or run pipelines </a:t>
            </a:r>
            <a:r>
              <a:rPr lang="en-US" sz="1800" dirty="0"/>
              <a:t>– two security roles come with the Pipelines app.</a:t>
            </a:r>
          </a:p>
          <a:p>
            <a:pPr marL="342900" indent="-342900" algn="l">
              <a:buFont typeface="+mj-lt"/>
              <a:buAutoNum type="arabicPeriod"/>
            </a:pPr>
            <a:r>
              <a:rPr lang="en-US" sz="1800" dirty="0">
                <a:hlinkClick r:id="rId9"/>
              </a:rPr>
              <a:t>Share pipelines with makers</a:t>
            </a:r>
            <a:endParaRPr lang="en-US" sz="1800" dirty="0"/>
          </a:p>
          <a:p>
            <a:pPr marL="342900" indent="-342900" algn="l">
              <a:buFont typeface="+mj-lt"/>
              <a:buAutoNum type="arabicPeriod"/>
            </a:pPr>
            <a:r>
              <a:rPr lang="en-US" sz="1800" dirty="0">
                <a:hlinkClick r:id="rId10"/>
              </a:rPr>
              <a:t>Share pipelines with administrators</a:t>
            </a:r>
            <a:endParaRPr lang="en-US" sz="1800" dirty="0"/>
          </a:p>
          <a:p>
            <a:pPr marL="0" indent="0" algn="l">
              <a:buNone/>
            </a:pPr>
            <a:endParaRPr lang="en-US" sz="1800" dirty="0"/>
          </a:p>
          <a:p>
            <a:pPr marL="0" indent="0" algn="l">
              <a:buNone/>
            </a:pPr>
            <a:r>
              <a:rPr lang="en-US" sz="1400" dirty="0">
                <a:hlinkClick r:id="rId11"/>
              </a:rPr>
              <a:t>Centrally manage and monitor deployments</a:t>
            </a:r>
            <a:endParaRPr lang="en-US" sz="1800" dirty="0"/>
          </a:p>
          <a:p>
            <a:pPr marL="342900" indent="-342900" algn="l">
              <a:buFont typeface="+mj-lt"/>
              <a:buAutoNum type="arabicPeriod"/>
            </a:pPr>
            <a:endParaRPr lang="en-US" sz="1800" dirty="0"/>
          </a:p>
          <a:p>
            <a:pPr marL="0" indent="0" algn="l">
              <a:buNone/>
            </a:pPr>
            <a:endParaRPr lang="en-US" sz="1600" dirty="0"/>
          </a:p>
          <a:p>
            <a:pPr marL="0" indent="0">
              <a:buNone/>
            </a:pPr>
            <a:endParaRPr lang="en-US" dirty="0"/>
          </a:p>
          <a:p>
            <a:pPr marL="0" indent="0">
              <a:spcBef>
                <a:spcPts val="1200"/>
              </a:spcBef>
              <a:spcAft>
                <a:spcPts val="1200"/>
              </a:spcAft>
              <a:buNone/>
            </a:pPr>
            <a:endParaRPr lang="en-US" dirty="0"/>
          </a:p>
        </p:txBody>
      </p:sp>
      <p:sp>
        <p:nvSpPr>
          <p:cNvPr id="2" name="Footer Placeholder 2">
            <a:extLst>
              <a:ext uri="{FF2B5EF4-FFF2-40B4-BE49-F238E27FC236}">
                <a16:creationId xmlns:a16="http://schemas.microsoft.com/office/drawing/2014/main" id="{77C2B420-1CC5-0B0C-8259-B34A64D8F45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92382228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7" end="7"/>
                                            </p:txEl>
                                          </p:spTgt>
                                        </p:tgtEl>
                                        <p:attrNameLst>
                                          <p:attrName>style.visibility</p:attrName>
                                        </p:attrNameLst>
                                      </p:cBhvr>
                                      <p:to>
                                        <p:strVal val="visible"/>
                                      </p:to>
                                    </p:set>
                                    <p:anim calcmode="lin" valueType="num">
                                      <p:cBhvr additive="base">
                                        <p:cTn id="7"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8" end="8"/>
                                            </p:txEl>
                                          </p:spTgt>
                                        </p:tgtEl>
                                        <p:attrNameLst>
                                          <p:attrName>style.visibility</p:attrName>
                                        </p:attrNameLst>
                                      </p:cBhvr>
                                      <p:to>
                                        <p:strVal val="visible"/>
                                      </p:to>
                                    </p:set>
                                    <p:anim calcmode="lin" valueType="num">
                                      <p:cBhvr additive="base">
                                        <p:cTn id="13" dur="500" fill="hold"/>
                                        <p:tgtEl>
                                          <p:spTgt spid="9">
                                            <p:txEl>
                                              <p:pRg st="8" end="8"/>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9" end="9"/>
                                            </p:txEl>
                                          </p:spTgt>
                                        </p:tgtEl>
                                        <p:attrNameLst>
                                          <p:attrName>style.visibility</p:attrName>
                                        </p:attrNameLst>
                                      </p:cBhvr>
                                      <p:to>
                                        <p:strVal val="visible"/>
                                      </p:to>
                                    </p:set>
                                    <p:anim calcmode="lin" valueType="num">
                                      <p:cBhvr additive="base">
                                        <p:cTn id="19" dur="500" fill="hold"/>
                                        <p:tgtEl>
                                          <p:spTgt spid="9">
                                            <p:txEl>
                                              <p:pRg st="9" end="9"/>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xEl>
                                              <p:pRg st="10" end="10"/>
                                            </p:txEl>
                                          </p:spTgt>
                                        </p:tgtEl>
                                        <p:attrNameLst>
                                          <p:attrName>style.visibility</p:attrName>
                                        </p:attrNameLst>
                                      </p:cBhvr>
                                      <p:to>
                                        <p:strVal val="visible"/>
                                      </p:to>
                                    </p:set>
                                    <p:anim calcmode="lin" valueType="num">
                                      <p:cBhvr additive="base">
                                        <p:cTn id="25" dur="500" fill="hold"/>
                                        <p:tgtEl>
                                          <p:spTgt spid="9">
                                            <p:txEl>
                                              <p:pRg st="10" end="1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xEl>
                                              <p:pRg st="11" end="11"/>
                                            </p:txEl>
                                          </p:spTgt>
                                        </p:tgtEl>
                                        <p:attrNameLst>
                                          <p:attrName>style.visibility</p:attrName>
                                        </p:attrNameLst>
                                      </p:cBhvr>
                                      <p:to>
                                        <p:strVal val="visible"/>
                                      </p:to>
                                    </p:set>
                                    <p:anim calcmode="lin" valueType="num">
                                      <p:cBhvr additive="base">
                                        <p:cTn id="31" dur="500" fill="hold"/>
                                        <p:tgtEl>
                                          <p:spTgt spid="9">
                                            <p:txEl>
                                              <p:pRg st="11" end="11"/>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9">
                                            <p:txEl>
                                              <p:pRg st="12" end="12"/>
                                            </p:txEl>
                                          </p:spTgt>
                                        </p:tgtEl>
                                        <p:attrNameLst>
                                          <p:attrName>style.visibility</p:attrName>
                                        </p:attrNameLst>
                                      </p:cBhvr>
                                      <p:to>
                                        <p:strVal val="visible"/>
                                      </p:to>
                                    </p:set>
                                    <p:anim calcmode="lin" valueType="num">
                                      <p:cBhvr additive="base">
                                        <p:cTn id="37" dur="500" fill="hold"/>
                                        <p:tgtEl>
                                          <p:spTgt spid="9">
                                            <p:txEl>
                                              <p:pRg st="12" end="12"/>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9">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9">
                                            <p:txEl>
                                              <p:pRg st="14" end="14"/>
                                            </p:txEl>
                                          </p:spTgt>
                                        </p:tgtEl>
                                        <p:attrNameLst>
                                          <p:attrName>style.visibility</p:attrName>
                                        </p:attrNameLst>
                                      </p:cBhvr>
                                      <p:to>
                                        <p:strVal val="visible"/>
                                      </p:to>
                                    </p:set>
                                    <p:anim calcmode="lin" valueType="num">
                                      <p:cBhvr additive="base">
                                        <p:cTn id="43" dur="500" fill="hold"/>
                                        <p:tgtEl>
                                          <p:spTgt spid="9">
                                            <p:txEl>
                                              <p:pRg st="14" end="14"/>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9">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solidFill>
                  <a:srgbClr val="243A5E"/>
                </a:solidFill>
              </a:rPr>
              <a:t>Run Pipeline</a:t>
            </a:r>
          </a:p>
        </p:txBody>
      </p:sp>
      <p:grpSp>
        <p:nvGrpSpPr>
          <p:cNvPr id="15" name="Group 14">
            <a:extLst>
              <a:ext uri="{FF2B5EF4-FFF2-40B4-BE49-F238E27FC236}">
                <a16:creationId xmlns:a16="http://schemas.microsoft.com/office/drawing/2014/main" id="{A32F9CFA-C507-48FE-A52A-AC6FB577A654}"/>
              </a:ext>
            </a:extLst>
          </p:cNvPr>
          <p:cNvGrpSpPr/>
          <p:nvPr/>
        </p:nvGrpSpPr>
        <p:grpSpPr>
          <a:xfrm>
            <a:off x="7820792" y="273073"/>
            <a:ext cx="4362149" cy="623682"/>
            <a:chOff x="7363372" y="1776598"/>
            <a:chExt cx="3904703" cy="623770"/>
          </a:xfrm>
        </p:grpSpPr>
        <p:sp>
          <p:nvSpPr>
            <p:cNvPr id="16" name="Text Placeholder 6">
              <a:extLst>
                <a:ext uri="{FF2B5EF4-FFF2-40B4-BE49-F238E27FC236}">
                  <a16:creationId xmlns:a16="http://schemas.microsoft.com/office/drawing/2014/main" id="{D49B8F0F-1F7F-4B59-B53E-DF99F8295343}"/>
                </a:ext>
              </a:extLst>
            </p:cNvPr>
            <p:cNvSpPr txBox="1">
              <a:spLocks/>
            </p:cNvSpPr>
            <p:nvPr/>
          </p:nvSpPr>
          <p:spPr>
            <a:xfrm>
              <a:off x="8103394" y="1896970"/>
              <a:ext cx="3164681" cy="383027"/>
            </a:xfrm>
            <a:prstGeom prst="rect">
              <a:avLst/>
            </a:prstGeom>
          </p:spPr>
          <p:txBody>
            <a:bodyPr wrap="square" lIns="0" tIns="0" rIns="0" bIns="0" anchor="ctr"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1800" spc="0" dirty="0">
                  <a:solidFill>
                    <a:srgbClr val="3C3C41"/>
                  </a:solidFill>
                  <a:latin typeface="Segoe UI Semibold"/>
                  <a:cs typeface="Segoe UI Light" panose="020B0502040204020203" pitchFamily="34" charset="0"/>
                </a:rPr>
                <a:t>Sign into a Power Platform environment using Power Apps or Power Automate</a:t>
              </a:r>
            </a:p>
          </p:txBody>
        </p:sp>
        <p:grpSp>
          <p:nvGrpSpPr>
            <p:cNvPr id="17" name="Group 16">
              <a:extLst>
                <a:ext uri="{FF2B5EF4-FFF2-40B4-BE49-F238E27FC236}">
                  <a16:creationId xmlns:a16="http://schemas.microsoft.com/office/drawing/2014/main" id="{9C875678-C835-48EE-B691-72E07451AA18}"/>
                </a:ext>
              </a:extLst>
            </p:cNvPr>
            <p:cNvGrpSpPr/>
            <p:nvPr/>
          </p:nvGrpSpPr>
          <p:grpSpPr>
            <a:xfrm>
              <a:off x="7363372" y="1776598"/>
              <a:ext cx="623770" cy="623770"/>
              <a:chOff x="7363372" y="1776598"/>
              <a:chExt cx="623770" cy="623770"/>
            </a:xfrm>
          </p:grpSpPr>
          <p:sp>
            <p:nvSpPr>
              <p:cNvPr id="18" name="Diamond 17">
                <a:extLst>
                  <a:ext uri="{FF2B5EF4-FFF2-40B4-BE49-F238E27FC236}">
                    <a16:creationId xmlns:a16="http://schemas.microsoft.com/office/drawing/2014/main" id="{266058D4-834D-4A29-9DA2-48074A9BB74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1</a:t>
                </a:r>
              </a:p>
            </p:txBody>
          </p:sp>
          <p:sp>
            <p:nvSpPr>
              <p:cNvPr id="19" name="Diamond 18">
                <a:extLst>
                  <a:ext uri="{FF2B5EF4-FFF2-40B4-BE49-F238E27FC236}">
                    <a16:creationId xmlns:a16="http://schemas.microsoft.com/office/drawing/2014/main" id="{8BB3BA73-CB5A-45D5-A898-52E02577A124}"/>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986256A6-BC67-4D48-9FD6-19D46B73975F}"/>
              </a:ext>
            </a:extLst>
          </p:cNvPr>
          <p:cNvGrpSpPr/>
          <p:nvPr/>
        </p:nvGrpSpPr>
        <p:grpSpPr>
          <a:xfrm>
            <a:off x="7846436" y="1236396"/>
            <a:ext cx="4221700" cy="690096"/>
            <a:chOff x="7363372" y="1776598"/>
            <a:chExt cx="3919087" cy="690193"/>
          </a:xfrm>
        </p:grpSpPr>
        <p:sp>
          <p:nvSpPr>
            <p:cNvPr id="27" name="Text Placeholder 6">
              <a:extLst>
                <a:ext uri="{FF2B5EF4-FFF2-40B4-BE49-F238E27FC236}">
                  <a16:creationId xmlns:a16="http://schemas.microsoft.com/office/drawing/2014/main" id="{E84D81DF-B523-451B-846C-EDC559C8E170}"/>
                </a:ext>
              </a:extLst>
            </p:cNvPr>
            <p:cNvSpPr txBox="1">
              <a:spLocks/>
            </p:cNvSpPr>
            <p:nvPr/>
          </p:nvSpPr>
          <p:spPr>
            <a:xfrm>
              <a:off x="8117778" y="1843021"/>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1800" spc="0" dirty="0">
                  <a:solidFill>
                    <a:srgbClr val="3C3C41"/>
                  </a:solidFill>
                  <a:latin typeface="Segoe UI Semibold"/>
                  <a:cs typeface="Segoe UI Light" panose="020B0502040204020203" pitchFamily="34" charset="0"/>
                </a:rPr>
                <a:t>Go to </a:t>
              </a:r>
              <a:r>
                <a:rPr lang="en-US" sz="1800" spc="0" dirty="0">
                  <a:solidFill>
                    <a:schemeClr val="accent5"/>
                  </a:solidFill>
                  <a:latin typeface="Segoe UI Semibold"/>
                  <a:cs typeface="Segoe UI Light" panose="020B0502040204020203" pitchFamily="34" charset="0"/>
                </a:rPr>
                <a:t>Solutions</a:t>
              </a:r>
              <a:r>
                <a:rPr lang="en-US" sz="1800" spc="0" dirty="0">
                  <a:solidFill>
                    <a:srgbClr val="3C3C41"/>
                  </a:solidFill>
                  <a:latin typeface="Segoe UI Semibold"/>
                  <a:cs typeface="Segoe UI Light" panose="020B0502040204020203" pitchFamily="34" charset="0"/>
                </a:rPr>
                <a:t> and create or select an </a:t>
              </a:r>
              <a:r>
                <a:rPr lang="en-US" sz="1800" spc="0" dirty="0">
                  <a:solidFill>
                    <a:schemeClr val="accent5"/>
                  </a:solidFill>
                  <a:latin typeface="Segoe UI Semibold"/>
                  <a:cs typeface="Segoe UI Light" panose="020B0502040204020203" pitchFamily="34" charset="0"/>
                </a:rPr>
                <a:t>unmanaged</a:t>
              </a:r>
              <a:r>
                <a:rPr lang="en-US" sz="1800" spc="0" dirty="0">
                  <a:solidFill>
                    <a:srgbClr val="3C3C41"/>
                  </a:solidFill>
                  <a:latin typeface="Segoe UI Semibold"/>
                  <a:cs typeface="Segoe UI Light" panose="020B0502040204020203" pitchFamily="34" charset="0"/>
                </a:rPr>
                <a:t> solution </a:t>
              </a:r>
            </a:p>
          </p:txBody>
        </p:sp>
        <p:grpSp>
          <p:nvGrpSpPr>
            <p:cNvPr id="29" name="Group 28">
              <a:extLst>
                <a:ext uri="{FF2B5EF4-FFF2-40B4-BE49-F238E27FC236}">
                  <a16:creationId xmlns:a16="http://schemas.microsoft.com/office/drawing/2014/main" id="{62CB1845-FDA8-42FA-B014-BC577CBF8E6B}"/>
                </a:ext>
              </a:extLst>
            </p:cNvPr>
            <p:cNvGrpSpPr/>
            <p:nvPr/>
          </p:nvGrpSpPr>
          <p:grpSpPr>
            <a:xfrm>
              <a:off x="7363372" y="1776598"/>
              <a:ext cx="623770" cy="623770"/>
              <a:chOff x="7363372" y="1776598"/>
              <a:chExt cx="623770" cy="623770"/>
            </a:xfrm>
          </p:grpSpPr>
          <p:sp>
            <p:nvSpPr>
              <p:cNvPr id="30" name="Diamond 29">
                <a:extLst>
                  <a:ext uri="{FF2B5EF4-FFF2-40B4-BE49-F238E27FC236}">
                    <a16:creationId xmlns:a16="http://schemas.microsoft.com/office/drawing/2014/main" id="{7957F964-2756-42B4-B47E-E9F154E3CB67}"/>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2</a:t>
                </a:r>
              </a:p>
            </p:txBody>
          </p:sp>
          <p:sp>
            <p:nvSpPr>
              <p:cNvPr id="31" name="Diamond 30">
                <a:extLst>
                  <a:ext uri="{FF2B5EF4-FFF2-40B4-BE49-F238E27FC236}">
                    <a16:creationId xmlns:a16="http://schemas.microsoft.com/office/drawing/2014/main" id="{39BA3833-5515-4B75-9241-5679693914D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23" name="Group 22">
            <a:extLst>
              <a:ext uri="{FF2B5EF4-FFF2-40B4-BE49-F238E27FC236}">
                <a16:creationId xmlns:a16="http://schemas.microsoft.com/office/drawing/2014/main" id="{49BB6552-08F9-4DB7-8068-57DB8F98D4B4}"/>
              </a:ext>
            </a:extLst>
          </p:cNvPr>
          <p:cNvGrpSpPr/>
          <p:nvPr/>
        </p:nvGrpSpPr>
        <p:grpSpPr>
          <a:xfrm>
            <a:off x="7867944" y="2157559"/>
            <a:ext cx="3924584" cy="667447"/>
            <a:chOff x="7363372" y="1732827"/>
            <a:chExt cx="3925140" cy="667541"/>
          </a:xfrm>
        </p:grpSpPr>
        <p:sp>
          <p:nvSpPr>
            <p:cNvPr id="24" name="Text Placeholder 6">
              <a:extLst>
                <a:ext uri="{FF2B5EF4-FFF2-40B4-BE49-F238E27FC236}">
                  <a16:creationId xmlns:a16="http://schemas.microsoft.com/office/drawing/2014/main" id="{79475ECA-8801-49F7-930D-0DC517F2EC01}"/>
                </a:ext>
              </a:extLst>
            </p:cNvPr>
            <p:cNvSpPr txBox="1">
              <a:spLocks/>
            </p:cNvSpPr>
            <p:nvPr/>
          </p:nvSpPr>
          <p:spPr>
            <a:xfrm>
              <a:off x="8123831" y="1732827"/>
              <a:ext cx="3164681"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1800" spc="0" dirty="0">
                  <a:solidFill>
                    <a:srgbClr val="3C3C41"/>
                  </a:solidFill>
                  <a:latin typeface="Segoe UI Semibold"/>
                  <a:cs typeface="Segoe UI Light" panose="020B0502040204020203" pitchFamily="34" charset="0"/>
                </a:rPr>
                <a:t>Once in a solution, select </a:t>
              </a:r>
              <a:r>
                <a:rPr lang="en-US" sz="1800" spc="0" dirty="0">
                  <a:solidFill>
                    <a:schemeClr val="accent5"/>
                  </a:solidFill>
                  <a:latin typeface="Segoe UI Semibold"/>
                  <a:cs typeface="Segoe UI Light" panose="020B0502040204020203" pitchFamily="34" charset="0"/>
                </a:rPr>
                <a:t>Pipelines</a:t>
              </a:r>
              <a:r>
                <a:rPr lang="en-US" sz="1800" spc="0" dirty="0">
                  <a:solidFill>
                    <a:srgbClr val="3C3C41"/>
                  </a:solidFill>
                  <a:latin typeface="Segoe UI Semibold"/>
                  <a:cs typeface="Segoe UI Light" panose="020B0502040204020203" pitchFamily="34" charset="0"/>
                </a:rPr>
                <a:t> from left navigation menu</a:t>
              </a:r>
            </a:p>
          </p:txBody>
        </p:sp>
        <p:grpSp>
          <p:nvGrpSpPr>
            <p:cNvPr id="25" name="Group 24">
              <a:extLst>
                <a:ext uri="{FF2B5EF4-FFF2-40B4-BE49-F238E27FC236}">
                  <a16:creationId xmlns:a16="http://schemas.microsoft.com/office/drawing/2014/main" id="{C881A738-82FB-451D-8A94-3223CA964C9F}"/>
                </a:ext>
              </a:extLst>
            </p:cNvPr>
            <p:cNvGrpSpPr/>
            <p:nvPr/>
          </p:nvGrpSpPr>
          <p:grpSpPr>
            <a:xfrm>
              <a:off x="7363372" y="1776598"/>
              <a:ext cx="623770" cy="623770"/>
              <a:chOff x="7363372" y="1776598"/>
              <a:chExt cx="623770" cy="623770"/>
            </a:xfrm>
          </p:grpSpPr>
          <p:sp>
            <p:nvSpPr>
              <p:cNvPr id="32" name="Diamond 31">
                <a:extLst>
                  <a:ext uri="{FF2B5EF4-FFF2-40B4-BE49-F238E27FC236}">
                    <a16:creationId xmlns:a16="http://schemas.microsoft.com/office/drawing/2014/main" id="{76A5B333-D19D-4F6D-BD5F-CCE73FDBBD82}"/>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a:solidFill>
                      <a:srgbClr val="FFFFFF"/>
                    </a:solidFill>
                    <a:latin typeface="Segoe UI Semibold"/>
                    <a:ea typeface="Segoe UI" pitchFamily="34" charset="0"/>
                    <a:cs typeface="Segoe UI" pitchFamily="34" charset="0"/>
                  </a:rPr>
                  <a:t>3</a:t>
                </a:r>
              </a:p>
            </p:txBody>
          </p:sp>
          <p:sp>
            <p:nvSpPr>
              <p:cNvPr id="33" name="Diamond 32">
                <a:extLst>
                  <a:ext uri="{FF2B5EF4-FFF2-40B4-BE49-F238E27FC236}">
                    <a16:creationId xmlns:a16="http://schemas.microsoft.com/office/drawing/2014/main" id="{B1F18241-81A9-465F-9AE5-C40F8D7EE961}"/>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sp>
        <p:nvSpPr>
          <p:cNvPr id="3" name="Footer Placeholder 2">
            <a:extLst>
              <a:ext uri="{FF2B5EF4-FFF2-40B4-BE49-F238E27FC236}">
                <a16:creationId xmlns:a16="http://schemas.microsoft.com/office/drawing/2014/main" id="{F1B46C5C-4A6C-61ED-0275-90AA5DC1EC5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grpSp>
        <p:nvGrpSpPr>
          <p:cNvPr id="4" name="Group 3">
            <a:extLst>
              <a:ext uri="{FF2B5EF4-FFF2-40B4-BE49-F238E27FC236}">
                <a16:creationId xmlns:a16="http://schemas.microsoft.com/office/drawing/2014/main" id="{01EC8050-95F2-2AD2-6542-9E5440D0AA9D}"/>
              </a:ext>
            </a:extLst>
          </p:cNvPr>
          <p:cNvGrpSpPr/>
          <p:nvPr/>
        </p:nvGrpSpPr>
        <p:grpSpPr>
          <a:xfrm>
            <a:off x="7811030" y="3367621"/>
            <a:ext cx="3913914" cy="737615"/>
            <a:chOff x="7354309" y="1896970"/>
            <a:chExt cx="3633363" cy="737719"/>
          </a:xfrm>
        </p:grpSpPr>
        <p:sp>
          <p:nvSpPr>
            <p:cNvPr id="6" name="Text Placeholder 6">
              <a:extLst>
                <a:ext uri="{FF2B5EF4-FFF2-40B4-BE49-F238E27FC236}">
                  <a16:creationId xmlns:a16="http://schemas.microsoft.com/office/drawing/2014/main" id="{2029175F-9C15-B841-061D-D345BC51A931}"/>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1800" spc="0" dirty="0">
                  <a:solidFill>
                    <a:srgbClr val="3C3C41"/>
                  </a:solidFill>
                  <a:latin typeface="Segoe UI Semibold"/>
                  <a:cs typeface="Segoe UI Light" panose="020B0502040204020203" pitchFamily="34" charset="0"/>
                </a:rPr>
                <a:t>Select the stage to deploy to, such as </a:t>
              </a:r>
              <a:r>
                <a:rPr lang="en-US" sz="1800" spc="0" dirty="0">
                  <a:solidFill>
                    <a:schemeClr val="accent5"/>
                  </a:solidFill>
                  <a:latin typeface="Segoe UI Semibold"/>
                  <a:cs typeface="Segoe UI Light" panose="020B0502040204020203" pitchFamily="34" charset="0"/>
                </a:rPr>
                <a:t>Deploy to Test</a:t>
              </a:r>
              <a:r>
                <a:rPr lang="en-US" sz="1800" spc="0" dirty="0">
                  <a:solidFill>
                    <a:srgbClr val="3C3C41"/>
                  </a:solidFill>
                  <a:latin typeface="Segoe UI Semibold"/>
                  <a:cs typeface="Segoe UI Light" panose="020B0502040204020203" pitchFamily="34" charset="0"/>
                </a:rPr>
                <a:t>, select </a:t>
              </a:r>
              <a:r>
                <a:rPr lang="en-US" sz="1800" spc="0" dirty="0">
                  <a:solidFill>
                    <a:schemeClr val="accent5"/>
                  </a:solidFill>
                  <a:latin typeface="Segoe UI Semibold"/>
                  <a:cs typeface="Segoe UI Light" panose="020B0502040204020203" pitchFamily="34" charset="0"/>
                </a:rPr>
                <a:t>Deploy here</a:t>
              </a:r>
              <a:r>
                <a:rPr lang="en-US" sz="1800" spc="0" dirty="0">
                  <a:solidFill>
                    <a:srgbClr val="3C3C41"/>
                  </a:solidFill>
                  <a:latin typeface="Segoe UI Semibold"/>
                  <a:cs typeface="Segoe UI Light" panose="020B0502040204020203" pitchFamily="34" charset="0"/>
                </a:rPr>
                <a:t>, and then select </a:t>
              </a:r>
              <a:r>
                <a:rPr lang="en-US" sz="1800" spc="0" dirty="0">
                  <a:solidFill>
                    <a:schemeClr val="accent5"/>
                  </a:solidFill>
                  <a:latin typeface="Segoe UI Semibold"/>
                  <a:cs typeface="Segoe UI Light" panose="020B0502040204020203" pitchFamily="34" charset="0"/>
                </a:rPr>
                <a:t>Next</a:t>
              </a:r>
              <a:r>
                <a:rPr lang="en-US" sz="1800" spc="0" dirty="0">
                  <a:solidFill>
                    <a:srgbClr val="3C3C41"/>
                  </a:solidFill>
                  <a:latin typeface="Segoe UI Semibold"/>
                  <a:cs typeface="Segoe UI Light" panose="020B0502040204020203" pitchFamily="34" charset="0"/>
                </a:rPr>
                <a:t> on the right pane</a:t>
              </a:r>
            </a:p>
          </p:txBody>
        </p:sp>
        <p:grpSp>
          <p:nvGrpSpPr>
            <p:cNvPr id="13" name="Group 12">
              <a:extLst>
                <a:ext uri="{FF2B5EF4-FFF2-40B4-BE49-F238E27FC236}">
                  <a16:creationId xmlns:a16="http://schemas.microsoft.com/office/drawing/2014/main" id="{14C1527C-DD16-1A11-7516-B0DE0178676F}"/>
                </a:ext>
              </a:extLst>
            </p:cNvPr>
            <p:cNvGrpSpPr/>
            <p:nvPr/>
          </p:nvGrpSpPr>
          <p:grpSpPr>
            <a:xfrm>
              <a:off x="7354309" y="2010919"/>
              <a:ext cx="623770" cy="623770"/>
              <a:chOff x="7354309" y="2010919"/>
              <a:chExt cx="623770" cy="623770"/>
            </a:xfrm>
          </p:grpSpPr>
          <p:sp>
            <p:nvSpPr>
              <p:cNvPr id="21" name="Diamond 20">
                <a:extLst>
                  <a:ext uri="{FF2B5EF4-FFF2-40B4-BE49-F238E27FC236}">
                    <a16:creationId xmlns:a16="http://schemas.microsoft.com/office/drawing/2014/main" id="{8BFCD590-5CC7-638F-091B-EE6C4A2D695F}"/>
                  </a:ext>
                </a:extLst>
              </p:cNvPr>
              <p:cNvSpPr/>
              <p:nvPr/>
            </p:nvSpPr>
            <p:spPr bwMode="auto">
              <a:xfrm>
                <a:off x="7354309" y="2010919"/>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4</a:t>
                </a:r>
              </a:p>
            </p:txBody>
          </p:sp>
          <p:sp>
            <p:nvSpPr>
              <p:cNvPr id="36" name="Diamond 35">
                <a:extLst>
                  <a:ext uri="{FF2B5EF4-FFF2-40B4-BE49-F238E27FC236}">
                    <a16:creationId xmlns:a16="http://schemas.microsoft.com/office/drawing/2014/main" id="{24FB2908-40B5-6C7E-01C9-1911A2C1787A}"/>
                  </a:ext>
                </a:extLst>
              </p:cNvPr>
              <p:cNvSpPr/>
              <p:nvPr/>
            </p:nvSpPr>
            <p:spPr bwMode="auto">
              <a:xfrm>
                <a:off x="7397949" y="2057822"/>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37" name="Group 36">
            <a:extLst>
              <a:ext uri="{FF2B5EF4-FFF2-40B4-BE49-F238E27FC236}">
                <a16:creationId xmlns:a16="http://schemas.microsoft.com/office/drawing/2014/main" id="{AD1DDED3-9BC7-FADF-EF9A-8C73D300C4AC}"/>
              </a:ext>
            </a:extLst>
          </p:cNvPr>
          <p:cNvGrpSpPr/>
          <p:nvPr/>
        </p:nvGrpSpPr>
        <p:grpSpPr>
          <a:xfrm>
            <a:off x="7820792" y="4579044"/>
            <a:ext cx="3904151" cy="744037"/>
            <a:chOff x="7363372" y="1776598"/>
            <a:chExt cx="3624300" cy="744142"/>
          </a:xfrm>
        </p:grpSpPr>
        <p:sp>
          <p:nvSpPr>
            <p:cNvPr id="39" name="Text Placeholder 6">
              <a:extLst>
                <a:ext uri="{FF2B5EF4-FFF2-40B4-BE49-F238E27FC236}">
                  <a16:creationId xmlns:a16="http://schemas.microsoft.com/office/drawing/2014/main" id="{2EA3D27A-D0D4-7DEE-28D5-ABAE38CCF3B7}"/>
                </a:ext>
              </a:extLst>
            </p:cNvPr>
            <p:cNvSpPr txBox="1">
              <a:spLocks/>
            </p:cNvSpPr>
            <p:nvPr/>
          </p:nvSpPr>
          <p:spPr>
            <a:xfrm>
              <a:off x="8103394" y="1896970"/>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1800" spc="0" dirty="0">
                  <a:solidFill>
                    <a:srgbClr val="3C3C41"/>
                  </a:solidFill>
                  <a:latin typeface="Segoe UI Semibold"/>
                  <a:cs typeface="Segoe UI Light" panose="020B0502040204020203" pitchFamily="34" charset="0"/>
                </a:rPr>
                <a:t>Configure connection references or environment variables if these exist</a:t>
              </a:r>
            </a:p>
          </p:txBody>
        </p:sp>
        <p:grpSp>
          <p:nvGrpSpPr>
            <p:cNvPr id="40" name="Group 39">
              <a:extLst>
                <a:ext uri="{FF2B5EF4-FFF2-40B4-BE49-F238E27FC236}">
                  <a16:creationId xmlns:a16="http://schemas.microsoft.com/office/drawing/2014/main" id="{A12CDA39-FCBA-77E3-71E9-B3EDCAE4BFFE}"/>
                </a:ext>
              </a:extLst>
            </p:cNvPr>
            <p:cNvGrpSpPr/>
            <p:nvPr/>
          </p:nvGrpSpPr>
          <p:grpSpPr>
            <a:xfrm>
              <a:off x="7363372" y="1776598"/>
              <a:ext cx="623770" cy="623770"/>
              <a:chOff x="7363372" y="1776598"/>
              <a:chExt cx="623770" cy="623770"/>
            </a:xfrm>
          </p:grpSpPr>
          <p:sp>
            <p:nvSpPr>
              <p:cNvPr id="41" name="Diamond 40">
                <a:extLst>
                  <a:ext uri="{FF2B5EF4-FFF2-40B4-BE49-F238E27FC236}">
                    <a16:creationId xmlns:a16="http://schemas.microsoft.com/office/drawing/2014/main" id="{5D0CE773-70C4-0FBB-82D0-EB40D0E3B544}"/>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5</a:t>
                </a:r>
              </a:p>
            </p:txBody>
          </p:sp>
          <p:sp>
            <p:nvSpPr>
              <p:cNvPr id="42" name="Diamond 41">
                <a:extLst>
                  <a:ext uri="{FF2B5EF4-FFF2-40B4-BE49-F238E27FC236}">
                    <a16:creationId xmlns:a16="http://schemas.microsoft.com/office/drawing/2014/main" id="{F426636D-F3FF-FFD7-6E6B-D27B3D3A72A9}"/>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grpSp>
        <p:nvGrpSpPr>
          <p:cNvPr id="43" name="Group 42">
            <a:extLst>
              <a:ext uri="{FF2B5EF4-FFF2-40B4-BE49-F238E27FC236}">
                <a16:creationId xmlns:a16="http://schemas.microsoft.com/office/drawing/2014/main" id="{E397C03B-ABC6-9BB4-A5D8-BE91104C8202}"/>
              </a:ext>
            </a:extLst>
          </p:cNvPr>
          <p:cNvGrpSpPr/>
          <p:nvPr/>
        </p:nvGrpSpPr>
        <p:grpSpPr>
          <a:xfrm>
            <a:off x="7820792" y="5785217"/>
            <a:ext cx="3914491" cy="669849"/>
            <a:chOff x="7363372" y="1730424"/>
            <a:chExt cx="3633899" cy="669944"/>
          </a:xfrm>
        </p:grpSpPr>
        <p:sp>
          <p:nvSpPr>
            <p:cNvPr id="44" name="Text Placeholder 6">
              <a:extLst>
                <a:ext uri="{FF2B5EF4-FFF2-40B4-BE49-F238E27FC236}">
                  <a16:creationId xmlns:a16="http://schemas.microsoft.com/office/drawing/2014/main" id="{17F97D6C-5F9A-A39F-290D-2A5FA827169A}"/>
                </a:ext>
              </a:extLst>
            </p:cNvPr>
            <p:cNvSpPr txBox="1">
              <a:spLocks/>
            </p:cNvSpPr>
            <p:nvPr/>
          </p:nvSpPr>
          <p:spPr>
            <a:xfrm>
              <a:off x="8112993" y="1730424"/>
              <a:ext cx="2884278" cy="623770"/>
            </a:xfrm>
            <a:prstGeom prst="rect">
              <a:avLst/>
            </a:prstGeom>
          </p:spPr>
          <p:txBody>
            <a:bodyPr wrap="square" lIns="0" tIns="0" rIns="0" bIns="0" anchor="t" anchorCtr="0">
              <a:no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927" fontAlgn="base">
                <a:spcBef>
                  <a:spcPts val="1200"/>
                </a:spcBef>
                <a:spcAft>
                  <a:spcPts val="600"/>
                </a:spcAft>
                <a:defRPr/>
              </a:pPr>
              <a:r>
                <a:rPr lang="en-US" sz="1800" spc="0" dirty="0">
                  <a:solidFill>
                    <a:srgbClr val="3C3C41"/>
                  </a:solidFill>
                  <a:latin typeface="Segoe UI Semibold"/>
                  <a:cs typeface="Segoe UI Light" panose="020B0502040204020203" pitchFamily="34" charset="0"/>
                </a:rPr>
                <a:t>Select </a:t>
              </a:r>
              <a:r>
                <a:rPr lang="en-US" sz="1800" spc="0" dirty="0">
                  <a:solidFill>
                    <a:schemeClr val="accent5"/>
                  </a:solidFill>
                  <a:latin typeface="Segoe UI Semibold"/>
                  <a:cs typeface="Segoe UI Light" panose="020B0502040204020203" pitchFamily="34" charset="0"/>
                </a:rPr>
                <a:t>Deploy</a:t>
              </a:r>
              <a:r>
                <a:rPr lang="en-US" sz="1800" spc="0" dirty="0">
                  <a:solidFill>
                    <a:srgbClr val="3C3C41"/>
                  </a:solidFill>
                  <a:latin typeface="Segoe UI Semibold"/>
                  <a:cs typeface="Segoe UI Light" panose="020B0502040204020203" pitchFamily="34" charset="0"/>
                </a:rPr>
                <a:t>. This initiates an automated deployment to target environment</a:t>
              </a:r>
            </a:p>
          </p:txBody>
        </p:sp>
        <p:grpSp>
          <p:nvGrpSpPr>
            <p:cNvPr id="45" name="Group 44">
              <a:extLst>
                <a:ext uri="{FF2B5EF4-FFF2-40B4-BE49-F238E27FC236}">
                  <a16:creationId xmlns:a16="http://schemas.microsoft.com/office/drawing/2014/main" id="{DF39BC5C-8213-0774-B7A7-AAB083BD7C8D}"/>
                </a:ext>
              </a:extLst>
            </p:cNvPr>
            <p:cNvGrpSpPr/>
            <p:nvPr/>
          </p:nvGrpSpPr>
          <p:grpSpPr>
            <a:xfrm>
              <a:off x="7363372" y="1776598"/>
              <a:ext cx="623770" cy="623770"/>
              <a:chOff x="7363372" y="1776598"/>
              <a:chExt cx="623770" cy="623770"/>
            </a:xfrm>
          </p:grpSpPr>
          <p:sp>
            <p:nvSpPr>
              <p:cNvPr id="46" name="Diamond 45">
                <a:extLst>
                  <a:ext uri="{FF2B5EF4-FFF2-40B4-BE49-F238E27FC236}">
                    <a16:creationId xmlns:a16="http://schemas.microsoft.com/office/drawing/2014/main" id="{912B3D73-1E65-45A2-3115-4D82F66935C3}"/>
                  </a:ext>
                </a:extLst>
              </p:cNvPr>
              <p:cNvSpPr/>
              <p:nvPr/>
            </p:nvSpPr>
            <p:spPr bwMode="auto">
              <a:xfrm>
                <a:off x="7363372" y="1776598"/>
                <a:ext cx="623770" cy="623770"/>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IN" sz="2000" dirty="0">
                    <a:solidFill>
                      <a:srgbClr val="FFFFFF"/>
                    </a:solidFill>
                    <a:latin typeface="Segoe UI Semibold"/>
                    <a:ea typeface="Segoe UI" pitchFamily="34" charset="0"/>
                    <a:cs typeface="Segoe UI" pitchFamily="34" charset="0"/>
                  </a:rPr>
                  <a:t>6</a:t>
                </a:r>
              </a:p>
            </p:txBody>
          </p:sp>
          <p:sp>
            <p:nvSpPr>
              <p:cNvPr id="47" name="Diamond 46">
                <a:extLst>
                  <a:ext uri="{FF2B5EF4-FFF2-40B4-BE49-F238E27FC236}">
                    <a16:creationId xmlns:a16="http://schemas.microsoft.com/office/drawing/2014/main" id="{47D642DA-D5C1-9C2E-18EE-DE0C2054F3D6}"/>
                  </a:ext>
                </a:extLst>
              </p:cNvPr>
              <p:cNvSpPr/>
              <p:nvPr/>
            </p:nvSpPr>
            <p:spPr bwMode="auto">
              <a:xfrm>
                <a:off x="7407144" y="1820370"/>
                <a:ext cx="536227" cy="536227"/>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IN" sz="2000" err="1">
                  <a:solidFill>
                    <a:srgbClr val="FFFFFF"/>
                  </a:solidFill>
                  <a:latin typeface="Segoe UI"/>
                  <a:ea typeface="Segoe UI" pitchFamily="34" charset="0"/>
                  <a:cs typeface="Segoe UI" pitchFamily="34" charset="0"/>
                </a:endParaRPr>
              </a:p>
            </p:txBody>
          </p:sp>
        </p:grpSp>
      </p:grpSp>
      <p:pic>
        <p:nvPicPr>
          <p:cNvPr id="38" name="Picture 29" descr="A close up of a screen&#10;&#10;Description automatically generated">
            <a:extLst>
              <a:ext uri="{FF2B5EF4-FFF2-40B4-BE49-F238E27FC236}">
                <a16:creationId xmlns:a16="http://schemas.microsoft.com/office/drawing/2014/main" id="{70294C1C-F2E3-DB1F-AF1F-D408C25064A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42071" y="860125"/>
            <a:ext cx="6370749" cy="3571107"/>
          </a:xfrm>
          <a:prstGeom prst="rect">
            <a:avLst/>
          </a:prstGeom>
          <a:effectLst>
            <a:outerShdw blurRad="241300" dist="165100" dir="5400000" sx="96000" sy="96000" algn="t" rotWithShape="0">
              <a:prstClr val="black">
                <a:alpha val="46000"/>
              </a:prstClr>
            </a:outerShdw>
          </a:effectLst>
        </p:spPr>
      </p:pic>
      <p:pic>
        <p:nvPicPr>
          <p:cNvPr id="71" name="Picture 70">
            <a:extLst>
              <a:ext uri="{FF2B5EF4-FFF2-40B4-BE49-F238E27FC236}">
                <a16:creationId xmlns:a16="http://schemas.microsoft.com/office/drawing/2014/main" id="{9A232ABA-54F5-F17B-A790-96AED5EB64C9}"/>
              </a:ext>
            </a:extLst>
          </p:cNvPr>
          <p:cNvPicPr>
            <a:picLocks noChangeAspect="1"/>
          </p:cNvPicPr>
          <p:nvPr/>
        </p:nvPicPr>
        <p:blipFill>
          <a:blip r:embed="rId5"/>
          <a:stretch>
            <a:fillRect/>
          </a:stretch>
        </p:blipFill>
        <p:spPr>
          <a:xfrm>
            <a:off x="376238" y="1102919"/>
            <a:ext cx="5909976" cy="3039326"/>
          </a:xfrm>
          <a:prstGeom prst="rect">
            <a:avLst/>
          </a:prstGeom>
        </p:spPr>
      </p:pic>
      <p:pic>
        <p:nvPicPr>
          <p:cNvPr id="72" name="Picture 29" descr="A close up of a screen&#10;&#10;Description automatically generated">
            <a:extLst>
              <a:ext uri="{FF2B5EF4-FFF2-40B4-BE49-F238E27FC236}">
                <a16:creationId xmlns:a16="http://schemas.microsoft.com/office/drawing/2014/main" id="{D4021A20-1ABC-2A76-180A-5A98DEE2754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17437" y="1197564"/>
            <a:ext cx="6370749" cy="3597731"/>
          </a:xfrm>
          <a:prstGeom prst="rect">
            <a:avLst/>
          </a:prstGeom>
          <a:effectLst>
            <a:outerShdw blurRad="241300" dist="165100" dir="5400000" sx="96000" sy="96000" algn="t" rotWithShape="0">
              <a:prstClr val="black">
                <a:alpha val="46000"/>
              </a:prstClr>
            </a:outerShdw>
          </a:effectLst>
        </p:spPr>
      </p:pic>
      <p:pic>
        <p:nvPicPr>
          <p:cNvPr id="73" name="Picture 72">
            <a:extLst>
              <a:ext uri="{FF2B5EF4-FFF2-40B4-BE49-F238E27FC236}">
                <a16:creationId xmlns:a16="http://schemas.microsoft.com/office/drawing/2014/main" id="{53478E81-EB67-0078-9424-1EB5E3543E5B}"/>
              </a:ext>
            </a:extLst>
          </p:cNvPr>
          <p:cNvPicPr>
            <a:picLocks noChangeAspect="1"/>
          </p:cNvPicPr>
          <p:nvPr/>
        </p:nvPicPr>
        <p:blipFill>
          <a:blip r:embed="rId6"/>
          <a:stretch>
            <a:fillRect/>
          </a:stretch>
        </p:blipFill>
        <p:spPr>
          <a:xfrm>
            <a:off x="566275" y="1480422"/>
            <a:ext cx="5902104" cy="3032013"/>
          </a:xfrm>
          <a:prstGeom prst="rect">
            <a:avLst/>
          </a:prstGeom>
        </p:spPr>
      </p:pic>
      <p:pic>
        <p:nvPicPr>
          <p:cNvPr id="74" name="Picture 29" descr="A close up of a screen&#10;&#10;Description automatically generated">
            <a:extLst>
              <a:ext uri="{FF2B5EF4-FFF2-40B4-BE49-F238E27FC236}">
                <a16:creationId xmlns:a16="http://schemas.microsoft.com/office/drawing/2014/main" id="{5204EAEB-7CCD-0658-ACC0-DF4C62C5DD9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92803" y="1584215"/>
            <a:ext cx="6370749" cy="3530011"/>
          </a:xfrm>
          <a:prstGeom prst="rect">
            <a:avLst/>
          </a:prstGeom>
          <a:effectLst>
            <a:outerShdw blurRad="241300" dist="165100" dir="5400000" sx="96000" sy="96000" algn="t" rotWithShape="0">
              <a:prstClr val="black">
                <a:alpha val="46000"/>
              </a:prstClr>
            </a:outerShdw>
          </a:effectLst>
        </p:spPr>
      </p:pic>
      <p:pic>
        <p:nvPicPr>
          <p:cNvPr id="75" name="Picture 74">
            <a:extLst>
              <a:ext uri="{FF2B5EF4-FFF2-40B4-BE49-F238E27FC236}">
                <a16:creationId xmlns:a16="http://schemas.microsoft.com/office/drawing/2014/main" id="{9F56BDA0-62B7-834A-F677-B78BD53FE8B0}"/>
              </a:ext>
            </a:extLst>
          </p:cNvPr>
          <p:cNvPicPr>
            <a:picLocks noChangeAspect="1"/>
          </p:cNvPicPr>
          <p:nvPr/>
        </p:nvPicPr>
        <p:blipFill>
          <a:blip r:embed="rId7"/>
          <a:stretch>
            <a:fillRect/>
          </a:stretch>
        </p:blipFill>
        <p:spPr>
          <a:xfrm>
            <a:off x="759278" y="1848408"/>
            <a:ext cx="5811660" cy="2974644"/>
          </a:xfrm>
          <a:prstGeom prst="rect">
            <a:avLst/>
          </a:prstGeom>
        </p:spPr>
      </p:pic>
      <p:pic>
        <p:nvPicPr>
          <p:cNvPr id="76" name="Picture 29" descr="A close up of a screen&#10;&#10;Description automatically generated">
            <a:extLst>
              <a:ext uri="{FF2B5EF4-FFF2-40B4-BE49-F238E27FC236}">
                <a16:creationId xmlns:a16="http://schemas.microsoft.com/office/drawing/2014/main" id="{FC8AD79D-15F2-2148-595D-CFCA210D7C3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55638" y="1932797"/>
            <a:ext cx="6370749" cy="3530011"/>
          </a:xfrm>
          <a:prstGeom prst="rect">
            <a:avLst/>
          </a:prstGeom>
          <a:effectLst>
            <a:outerShdw blurRad="241300" dist="165100" dir="5400000" sx="96000" sy="96000" algn="t" rotWithShape="0">
              <a:prstClr val="black">
                <a:alpha val="46000"/>
              </a:prstClr>
            </a:outerShdw>
          </a:effectLst>
        </p:spPr>
      </p:pic>
      <p:pic>
        <p:nvPicPr>
          <p:cNvPr id="78" name="Picture 77">
            <a:extLst>
              <a:ext uri="{FF2B5EF4-FFF2-40B4-BE49-F238E27FC236}">
                <a16:creationId xmlns:a16="http://schemas.microsoft.com/office/drawing/2014/main" id="{895EBF95-66D1-4E1E-7225-0C9BD5FB99A6}"/>
              </a:ext>
            </a:extLst>
          </p:cNvPr>
          <p:cNvPicPr>
            <a:picLocks noChangeAspect="1"/>
          </p:cNvPicPr>
          <p:nvPr/>
        </p:nvPicPr>
        <p:blipFill>
          <a:blip r:embed="rId8"/>
          <a:stretch>
            <a:fillRect/>
          </a:stretch>
        </p:blipFill>
        <p:spPr>
          <a:xfrm>
            <a:off x="920797" y="2201323"/>
            <a:ext cx="5807726" cy="2991197"/>
          </a:xfrm>
          <a:prstGeom prst="rect">
            <a:avLst/>
          </a:prstGeom>
        </p:spPr>
      </p:pic>
      <p:pic>
        <p:nvPicPr>
          <p:cNvPr id="79" name="Picture 29" descr="A close up of a screen&#10;&#10;Description automatically generated">
            <a:extLst>
              <a:ext uri="{FF2B5EF4-FFF2-40B4-BE49-F238E27FC236}">
                <a16:creationId xmlns:a16="http://schemas.microsoft.com/office/drawing/2014/main" id="{0605FB5C-0F81-1BF1-EF60-C80E6EE95FA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18082" y="2315964"/>
            <a:ext cx="6370749" cy="3530011"/>
          </a:xfrm>
          <a:prstGeom prst="rect">
            <a:avLst/>
          </a:prstGeom>
          <a:effectLst>
            <a:outerShdw blurRad="241300" dist="165100" dir="5400000" sx="96000" sy="96000" algn="t" rotWithShape="0">
              <a:prstClr val="black">
                <a:alpha val="46000"/>
              </a:prstClr>
            </a:outerShdw>
          </a:effectLst>
        </p:spPr>
      </p:pic>
      <p:pic>
        <p:nvPicPr>
          <p:cNvPr id="84" name="Picture 83">
            <a:extLst>
              <a:ext uri="{FF2B5EF4-FFF2-40B4-BE49-F238E27FC236}">
                <a16:creationId xmlns:a16="http://schemas.microsoft.com/office/drawing/2014/main" id="{FD61B105-523A-39DC-9A31-F0453E79EE00}"/>
              </a:ext>
            </a:extLst>
          </p:cNvPr>
          <p:cNvPicPr>
            <a:picLocks noChangeAspect="1"/>
          </p:cNvPicPr>
          <p:nvPr/>
        </p:nvPicPr>
        <p:blipFill>
          <a:blip r:embed="rId9"/>
          <a:stretch>
            <a:fillRect/>
          </a:stretch>
        </p:blipFill>
        <p:spPr>
          <a:xfrm>
            <a:off x="1070513" y="2577990"/>
            <a:ext cx="5829546" cy="3005957"/>
          </a:xfrm>
          <a:prstGeom prst="rect">
            <a:avLst/>
          </a:prstGeom>
        </p:spPr>
      </p:pic>
      <p:pic>
        <p:nvPicPr>
          <p:cNvPr id="85" name="Picture 29" descr="A close up of a screen&#10;&#10;Description automatically generated">
            <a:extLst>
              <a:ext uri="{FF2B5EF4-FFF2-40B4-BE49-F238E27FC236}">
                <a16:creationId xmlns:a16="http://schemas.microsoft.com/office/drawing/2014/main" id="{2CBC28D6-0EB5-E940-C406-7E2B697A37E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996550" y="2661007"/>
            <a:ext cx="6370749" cy="3530011"/>
          </a:xfrm>
          <a:prstGeom prst="rect">
            <a:avLst/>
          </a:prstGeom>
          <a:effectLst>
            <a:outerShdw blurRad="241300" dist="165100" dir="5400000" sx="96000" sy="96000" algn="t" rotWithShape="0">
              <a:prstClr val="black">
                <a:alpha val="46000"/>
              </a:prstClr>
            </a:outerShdw>
          </a:effectLst>
        </p:spPr>
      </p:pic>
      <p:pic>
        <p:nvPicPr>
          <p:cNvPr id="89" name="Picture 88">
            <a:extLst>
              <a:ext uri="{FF2B5EF4-FFF2-40B4-BE49-F238E27FC236}">
                <a16:creationId xmlns:a16="http://schemas.microsoft.com/office/drawing/2014/main" id="{9395ECA7-F5A0-2DBA-357A-57B5E17E7155}"/>
              </a:ext>
            </a:extLst>
          </p:cNvPr>
          <p:cNvPicPr>
            <a:picLocks noChangeAspect="1"/>
          </p:cNvPicPr>
          <p:nvPr/>
        </p:nvPicPr>
        <p:blipFill>
          <a:blip r:embed="rId10"/>
          <a:stretch>
            <a:fillRect/>
          </a:stretch>
        </p:blipFill>
        <p:spPr>
          <a:xfrm>
            <a:off x="1259887" y="2954936"/>
            <a:ext cx="5832151" cy="3005680"/>
          </a:xfrm>
          <a:prstGeom prst="rect">
            <a:avLst/>
          </a:prstGeom>
        </p:spPr>
      </p:pic>
      <p:pic>
        <p:nvPicPr>
          <p:cNvPr id="91" name="Picture 90">
            <a:extLst>
              <a:ext uri="{FF2B5EF4-FFF2-40B4-BE49-F238E27FC236}">
                <a16:creationId xmlns:a16="http://schemas.microsoft.com/office/drawing/2014/main" id="{996451F9-F054-F95B-2C9E-16A48F3D09C2}"/>
              </a:ext>
            </a:extLst>
          </p:cNvPr>
          <p:cNvPicPr>
            <a:picLocks noChangeAspect="1"/>
          </p:cNvPicPr>
          <p:nvPr/>
        </p:nvPicPr>
        <p:blipFill>
          <a:blip r:embed="rId11"/>
          <a:stretch>
            <a:fillRect/>
          </a:stretch>
        </p:blipFill>
        <p:spPr>
          <a:xfrm>
            <a:off x="2735490" y="3732276"/>
            <a:ext cx="3026073" cy="2240680"/>
          </a:xfrm>
          <a:prstGeom prst="rect">
            <a:avLst/>
          </a:prstGeom>
        </p:spPr>
      </p:pic>
    </p:spTree>
    <p:custDataLst>
      <p:tags r:id="rId1"/>
    </p:custDataLst>
    <p:extLst>
      <p:ext uri="{BB962C8B-B14F-4D97-AF65-F5344CB8AC3E}">
        <p14:creationId xmlns:p14="http://schemas.microsoft.com/office/powerpoint/2010/main" val="141214347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500"/>
                                        <p:tgtEl>
                                          <p:spTgt spid="71"/>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500"/>
                                        <p:tgtEl>
                                          <p:spTgt spid="72"/>
                                        </p:tgtEl>
                                      </p:cBhvr>
                                    </p:animEffect>
                                  </p:childTnLst>
                                </p:cTn>
                              </p:par>
                              <p:par>
                                <p:cTn id="19" presetID="10" presetClass="entr" presetSubtype="0" fill="hold" nodeType="with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par>
                                <p:cTn id="22" presetID="10" presetClass="entr" presetSubtype="0" fill="hold"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fade">
                                      <p:cBhvr>
                                        <p:cTn id="29" dur="500"/>
                                        <p:tgtEl>
                                          <p:spTgt spid="74"/>
                                        </p:tgtEl>
                                      </p:cBhvr>
                                    </p:animEffect>
                                  </p:childTnLst>
                                </p:cTn>
                              </p:par>
                              <p:par>
                                <p:cTn id="30" presetID="10" presetClass="entr" presetSubtype="0" fill="hold" nodeType="withEffect">
                                  <p:stCondLst>
                                    <p:cond delay="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10"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78"/>
                                        </p:tgtEl>
                                        <p:attrNameLst>
                                          <p:attrName>style.visibility</p:attrName>
                                        </p:attrNameLst>
                                      </p:cBhvr>
                                      <p:to>
                                        <p:strVal val="visible"/>
                                      </p:to>
                                    </p:set>
                                    <p:animEffect transition="in" filter="fade">
                                      <p:cBhvr>
                                        <p:cTn id="40" dur="500"/>
                                        <p:tgtEl>
                                          <p:spTgt spid="78"/>
                                        </p:tgtEl>
                                      </p:cBhvr>
                                    </p:animEffect>
                                  </p:childTnLst>
                                </p:cTn>
                              </p:par>
                              <p:par>
                                <p:cTn id="41" presetID="10" presetClass="entr" presetSubtype="0" fill="hold" nodeType="with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fade">
                                      <p:cBhvr>
                                        <p:cTn id="43" dur="500"/>
                                        <p:tgtEl>
                                          <p:spTgt spid="76"/>
                                        </p:tgtEl>
                                      </p:cBhvr>
                                    </p:animEffect>
                                  </p:childTnLst>
                                </p:cTn>
                              </p:par>
                              <p:par>
                                <p:cTn id="44" presetID="10" presetClass="entr" presetSubtype="0" fill="hold"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84"/>
                                        </p:tgtEl>
                                        <p:attrNameLst>
                                          <p:attrName>style.visibility</p:attrName>
                                        </p:attrNameLst>
                                      </p:cBhvr>
                                      <p:to>
                                        <p:strVal val="visible"/>
                                      </p:to>
                                    </p:set>
                                    <p:animEffect transition="in" filter="fade">
                                      <p:cBhvr>
                                        <p:cTn id="51" dur="500"/>
                                        <p:tgtEl>
                                          <p:spTgt spid="84"/>
                                        </p:tgtEl>
                                      </p:cBhvr>
                                    </p:animEffect>
                                  </p:childTnLst>
                                </p:cTn>
                              </p:par>
                              <p:par>
                                <p:cTn id="52" presetID="10" presetClass="entr" presetSubtype="0" fill="hold" nodeType="withEffect">
                                  <p:stCondLst>
                                    <p:cond delay="0"/>
                                  </p:stCondLst>
                                  <p:childTnLst>
                                    <p:set>
                                      <p:cBhvr>
                                        <p:cTn id="53" dur="1" fill="hold">
                                          <p:stCondLst>
                                            <p:cond delay="0"/>
                                          </p:stCondLst>
                                        </p:cTn>
                                        <p:tgtEl>
                                          <p:spTgt spid="79"/>
                                        </p:tgtEl>
                                        <p:attrNameLst>
                                          <p:attrName>style.visibility</p:attrName>
                                        </p:attrNameLst>
                                      </p:cBhvr>
                                      <p:to>
                                        <p:strVal val="visible"/>
                                      </p:to>
                                    </p:set>
                                    <p:animEffect transition="in" filter="fade">
                                      <p:cBhvr>
                                        <p:cTn id="54" dur="500"/>
                                        <p:tgtEl>
                                          <p:spTgt spid="79"/>
                                        </p:tgtEl>
                                      </p:cBhvr>
                                    </p:animEffect>
                                  </p:childTnLst>
                                </p:cTn>
                              </p:par>
                              <p:par>
                                <p:cTn id="55" presetID="10" presetClass="entr" presetSubtype="0" fill="hold"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85"/>
                                        </p:tgtEl>
                                        <p:attrNameLst>
                                          <p:attrName>style.visibility</p:attrName>
                                        </p:attrNameLst>
                                      </p:cBhvr>
                                      <p:to>
                                        <p:strVal val="visible"/>
                                      </p:to>
                                    </p:set>
                                    <p:animEffect transition="in" filter="fade">
                                      <p:cBhvr>
                                        <p:cTn id="62" dur="500"/>
                                        <p:tgtEl>
                                          <p:spTgt spid="85"/>
                                        </p:tgtEl>
                                      </p:cBhvr>
                                    </p:animEffect>
                                  </p:childTnLst>
                                </p:cTn>
                              </p:par>
                              <p:par>
                                <p:cTn id="63" presetID="10" presetClass="entr" presetSubtype="0" fill="hold" nodeType="withEffect">
                                  <p:stCondLst>
                                    <p:cond delay="0"/>
                                  </p:stCondLst>
                                  <p:childTnLst>
                                    <p:set>
                                      <p:cBhvr>
                                        <p:cTn id="64" dur="1" fill="hold">
                                          <p:stCondLst>
                                            <p:cond delay="0"/>
                                          </p:stCondLst>
                                        </p:cTn>
                                        <p:tgtEl>
                                          <p:spTgt spid="89"/>
                                        </p:tgtEl>
                                        <p:attrNameLst>
                                          <p:attrName>style.visibility</p:attrName>
                                        </p:attrNameLst>
                                      </p:cBhvr>
                                      <p:to>
                                        <p:strVal val="visible"/>
                                      </p:to>
                                    </p:set>
                                    <p:animEffect transition="in" filter="fade">
                                      <p:cBhvr>
                                        <p:cTn id="65" dur="500"/>
                                        <p:tgtEl>
                                          <p:spTgt spid="89"/>
                                        </p:tgtEl>
                                      </p:cBhvr>
                                    </p:animEffect>
                                  </p:childTnLst>
                                </p:cTn>
                              </p:par>
                              <p:par>
                                <p:cTn id="66" presetID="10" presetClass="entr" presetSubtype="0"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91"/>
                                        </p:tgtEl>
                                        <p:attrNameLst>
                                          <p:attrName>style.visibility</p:attrName>
                                        </p:attrNameLst>
                                      </p:cBhvr>
                                      <p:to>
                                        <p:strVal val="visible"/>
                                      </p:to>
                                    </p:set>
                                    <p:animEffect transition="in" filter="fade">
                                      <p:cBhvr>
                                        <p:cTn id="73"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dirty="0"/>
              <a:t>Power Platform Build Tools for Azure DevOp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615540562"/>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Platform Build Tools for Azure DevOp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1177288" cy="5219521"/>
          </a:xfrm>
        </p:spPr>
        <p:txBody>
          <a:bodyPr>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1200"/>
              </a:spcBef>
              <a:spcAft>
                <a:spcPts val="1200"/>
              </a:spcAft>
              <a:buNone/>
            </a:pPr>
            <a:r>
              <a:rPr lang="en-US" sz="2000" dirty="0"/>
              <a:t>Is a collection of Power Platform–specific</a:t>
            </a:r>
            <a:r>
              <a:rPr lang="en-US" sz="2000" b="1" dirty="0"/>
              <a:t> </a:t>
            </a:r>
            <a:r>
              <a:rPr lang="en-US" sz="2000" dirty="0"/>
              <a:t>build tasks that eliminate the need to manually download custom tooling and scripts to manage the application lifecycle of apps built on Power Platform</a:t>
            </a:r>
          </a:p>
        </p:txBody>
      </p:sp>
      <p:sp>
        <p:nvSpPr>
          <p:cNvPr id="4" name="Rectangle 3">
            <a:extLst>
              <a:ext uri="{FF2B5EF4-FFF2-40B4-BE49-F238E27FC236}">
                <a16:creationId xmlns:a16="http://schemas.microsoft.com/office/drawing/2014/main" id="{A3D1CEF8-5E0B-41ED-9BC4-6767B529D31D}"/>
              </a:ext>
            </a:extLst>
          </p:cNvPr>
          <p:cNvSpPr/>
          <p:nvPr/>
        </p:nvSpPr>
        <p:spPr bwMode="auto">
          <a:xfrm>
            <a:off x="599197" y="3584741"/>
            <a:ext cx="2993600" cy="75006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39FDB363-DA2D-4E68-88F3-E6ABEAD258AF}"/>
              </a:ext>
            </a:extLst>
          </p:cNvPr>
          <p:cNvGrpSpPr/>
          <p:nvPr/>
        </p:nvGrpSpPr>
        <p:grpSpPr>
          <a:xfrm>
            <a:off x="740726" y="2142736"/>
            <a:ext cx="2689275" cy="1298007"/>
            <a:chOff x="645495" y="1481942"/>
            <a:chExt cx="2689275" cy="1298007"/>
          </a:xfrm>
        </p:grpSpPr>
        <p:grpSp>
          <p:nvGrpSpPr>
            <p:cNvPr id="6" name="Group 5">
              <a:extLst>
                <a:ext uri="{FF2B5EF4-FFF2-40B4-BE49-F238E27FC236}">
                  <a16:creationId xmlns:a16="http://schemas.microsoft.com/office/drawing/2014/main" id="{D64C6663-21EE-4EEF-8798-0CD258922BAE}"/>
                </a:ext>
              </a:extLst>
            </p:cNvPr>
            <p:cNvGrpSpPr/>
            <p:nvPr/>
          </p:nvGrpSpPr>
          <p:grpSpPr>
            <a:xfrm>
              <a:off x="1643763" y="1481942"/>
              <a:ext cx="692737" cy="692735"/>
              <a:chOff x="1593673" y="1511161"/>
              <a:chExt cx="706628" cy="706626"/>
            </a:xfrm>
          </p:grpSpPr>
          <p:sp>
            <p:nvSpPr>
              <p:cNvPr id="8" name="Oval 7">
                <a:extLst>
                  <a:ext uri="{FF2B5EF4-FFF2-40B4-BE49-F238E27FC236}">
                    <a16:creationId xmlns:a16="http://schemas.microsoft.com/office/drawing/2014/main" id="{855C70D0-5401-4A5D-9D37-AB698116C2B3}"/>
                  </a:ext>
                </a:extLst>
              </p:cNvPr>
              <p:cNvSpPr/>
              <p:nvPr/>
            </p:nvSpPr>
            <p:spPr bwMode="auto">
              <a:xfrm>
                <a:off x="1593673" y="1511161"/>
                <a:ext cx="706628" cy="706626"/>
              </a:xfrm>
              <a:prstGeom prst="ellipse">
                <a:avLst/>
              </a:prstGeom>
              <a:solidFill>
                <a:srgbClr val="000000"/>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cs typeface="Segoe UI" pitchFamily="34" charset="0"/>
                </a:endParaRPr>
              </a:p>
            </p:txBody>
          </p:sp>
          <p:sp>
            <p:nvSpPr>
              <p:cNvPr id="10" name="PageRight_E761" title="Icon of a chevron bracket in a circle pointed right">
                <a:extLst>
                  <a:ext uri="{FF2B5EF4-FFF2-40B4-BE49-F238E27FC236}">
                    <a16:creationId xmlns:a16="http://schemas.microsoft.com/office/drawing/2014/main" id="{A5B354B4-B5A1-4867-918D-9E1C75733E78}"/>
                  </a:ext>
                </a:extLst>
              </p:cNvPr>
              <p:cNvSpPr>
                <a:spLocks noChangeAspect="1" noEditPoints="1"/>
              </p:cNvSpPr>
              <p:nvPr/>
            </p:nvSpPr>
            <p:spPr bwMode="auto">
              <a:xfrm>
                <a:off x="1705501" y="1622810"/>
                <a:ext cx="482972" cy="483327"/>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2700"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14">
                  <a:defRPr/>
                </a:pPr>
                <a:endParaRPr lang="en-US" sz="882">
                  <a:gradFill>
                    <a:gsLst>
                      <a:gs pos="0">
                        <a:srgbClr val="505050"/>
                      </a:gs>
                      <a:gs pos="100000">
                        <a:srgbClr val="505050"/>
                      </a:gs>
                    </a:gsLst>
                    <a:lin ang="5400000" scaled="1"/>
                  </a:gradFill>
                  <a:latin typeface="Segoe UI"/>
                </a:endParaRPr>
              </a:p>
            </p:txBody>
          </p:sp>
        </p:grpSp>
        <p:sp>
          <p:nvSpPr>
            <p:cNvPr id="7" name="TextBox 6">
              <a:extLst>
                <a:ext uri="{FF2B5EF4-FFF2-40B4-BE49-F238E27FC236}">
                  <a16:creationId xmlns:a16="http://schemas.microsoft.com/office/drawing/2014/main" id="{AF06E5C7-E043-400D-A1E3-DF9E2A7A2A73}"/>
                </a:ext>
              </a:extLst>
            </p:cNvPr>
            <p:cNvSpPr txBox="1">
              <a:spLocks noChangeAspect="1"/>
            </p:cNvSpPr>
            <p:nvPr/>
          </p:nvSpPr>
          <p:spPr>
            <a:xfrm>
              <a:off x="645495" y="2267014"/>
              <a:ext cx="2689275" cy="512935"/>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895526">
                <a:lnSpc>
                  <a:spcPct val="100000"/>
                </a:lnSpc>
                <a:defRPr/>
              </a:pPr>
              <a:r>
                <a:rPr lang="en-US" sz="1765" b="1" kern="0" dirty="0">
                  <a:solidFill>
                    <a:srgbClr val="742774"/>
                  </a:solidFill>
                  <a:latin typeface="Segoe UI Semibold" panose="020B0502040204020203" pitchFamily="34" charset="0"/>
                  <a:ea typeface="Segoe UI Semibold" charset="0"/>
                  <a:cs typeface="Segoe UI Semibold" panose="020B0502040204020203" pitchFamily="34" charset="0"/>
                </a:rPr>
                <a:t>Initiate</a:t>
              </a:r>
              <a:br>
                <a:rPr lang="en-US" sz="1568" kern="0" dirty="0">
                  <a:solidFill>
                    <a:srgbClr val="1B212A"/>
                  </a:solidFill>
                  <a:latin typeface="Segoe UI Light" panose="020B0502040204020203" pitchFamily="34" charset="0"/>
                  <a:ea typeface="Segoe UI Semibold" charset="0"/>
                  <a:cs typeface="Segoe UI Light" panose="020B0502040204020203" pitchFamily="34" charset="0"/>
                </a:rPr>
              </a:br>
              <a:r>
                <a:rPr lang="en-US" sz="1568" kern="0" dirty="0">
                  <a:solidFill>
                    <a:schemeClr val="tx1"/>
                  </a:solidFill>
                  <a:cs typeface="Segoe UI Light" panose="020B0502040204020203" pitchFamily="34" charset="0"/>
                </a:rPr>
                <a:t>Getting started, faster</a:t>
              </a:r>
            </a:p>
          </p:txBody>
        </p:sp>
      </p:grpSp>
      <p:grpSp>
        <p:nvGrpSpPr>
          <p:cNvPr id="11" name="Group 10">
            <a:extLst>
              <a:ext uri="{FF2B5EF4-FFF2-40B4-BE49-F238E27FC236}">
                <a16:creationId xmlns:a16="http://schemas.microsoft.com/office/drawing/2014/main" id="{5D3FD660-0122-401A-80D6-4F9F925A409F}"/>
              </a:ext>
            </a:extLst>
          </p:cNvPr>
          <p:cNvGrpSpPr/>
          <p:nvPr/>
        </p:nvGrpSpPr>
        <p:grpSpPr>
          <a:xfrm>
            <a:off x="4722473" y="2099005"/>
            <a:ext cx="2689275" cy="1297617"/>
            <a:chOff x="4460101" y="1487896"/>
            <a:chExt cx="2689275" cy="1297617"/>
          </a:xfrm>
        </p:grpSpPr>
        <p:grpSp>
          <p:nvGrpSpPr>
            <p:cNvPr id="12" name="Group 11">
              <a:extLst>
                <a:ext uri="{FF2B5EF4-FFF2-40B4-BE49-F238E27FC236}">
                  <a16:creationId xmlns:a16="http://schemas.microsoft.com/office/drawing/2014/main" id="{9C70591A-F5DD-4F53-996D-C6F261B10B31}"/>
                </a:ext>
              </a:extLst>
            </p:cNvPr>
            <p:cNvGrpSpPr/>
            <p:nvPr/>
          </p:nvGrpSpPr>
          <p:grpSpPr>
            <a:xfrm>
              <a:off x="5458370" y="1487896"/>
              <a:ext cx="692737" cy="692735"/>
              <a:chOff x="5184539" y="1511161"/>
              <a:chExt cx="706628" cy="706626"/>
            </a:xfrm>
          </p:grpSpPr>
          <p:sp>
            <p:nvSpPr>
              <p:cNvPr id="14" name="Oval 13">
                <a:extLst>
                  <a:ext uri="{FF2B5EF4-FFF2-40B4-BE49-F238E27FC236}">
                    <a16:creationId xmlns:a16="http://schemas.microsoft.com/office/drawing/2014/main" id="{F3BD591A-369E-4D50-A6C0-32BF81757F0E}"/>
                  </a:ext>
                </a:extLst>
              </p:cNvPr>
              <p:cNvSpPr/>
              <p:nvPr/>
            </p:nvSpPr>
            <p:spPr bwMode="auto">
              <a:xfrm>
                <a:off x="5184539" y="1511161"/>
                <a:ext cx="706628" cy="706626"/>
              </a:xfrm>
              <a:prstGeom prst="ellipse">
                <a:avLst/>
              </a:prstGeom>
              <a:solidFill>
                <a:srgbClr val="000000"/>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cs typeface="Segoe UI" pitchFamily="34" charset="0"/>
                </a:endParaRPr>
              </a:p>
            </p:txBody>
          </p:sp>
          <p:sp>
            <p:nvSpPr>
              <p:cNvPr id="15" name="Freeform 58" title="Icon of a gear with a wrench">
                <a:extLst>
                  <a:ext uri="{FF2B5EF4-FFF2-40B4-BE49-F238E27FC236}">
                    <a16:creationId xmlns:a16="http://schemas.microsoft.com/office/drawing/2014/main" id="{ED68509D-F0BF-4E58-B699-CBF7D30FF020}"/>
                  </a:ext>
                </a:extLst>
              </p:cNvPr>
              <p:cNvSpPr>
                <a:spLocks noChangeAspect="1" noEditPoints="1"/>
              </p:cNvSpPr>
              <p:nvPr/>
            </p:nvSpPr>
            <p:spPr bwMode="auto">
              <a:xfrm>
                <a:off x="5315014" y="1659293"/>
                <a:ext cx="445678" cy="4103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grpSp>
        <p:sp>
          <p:nvSpPr>
            <p:cNvPr id="13" name="TextBox 12">
              <a:extLst>
                <a:ext uri="{FF2B5EF4-FFF2-40B4-BE49-F238E27FC236}">
                  <a16:creationId xmlns:a16="http://schemas.microsoft.com/office/drawing/2014/main" id="{5B35560A-57EA-4F90-9808-EE9C051BD77D}"/>
                </a:ext>
              </a:extLst>
            </p:cNvPr>
            <p:cNvSpPr txBox="1"/>
            <p:nvPr/>
          </p:nvSpPr>
          <p:spPr>
            <a:xfrm>
              <a:off x="4460101" y="2272616"/>
              <a:ext cx="2689275" cy="512897"/>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895526">
                <a:lnSpc>
                  <a:spcPct val="100000"/>
                </a:lnSpc>
                <a:defRPr/>
              </a:pPr>
              <a:r>
                <a:rPr lang="en-US" sz="1765" b="1" kern="0" dirty="0">
                  <a:solidFill>
                    <a:srgbClr val="742774"/>
                  </a:solidFill>
                  <a:latin typeface="+mj-lt"/>
                  <a:ea typeface="Segoe UI Semibold" charset="0"/>
                  <a:cs typeface="Segoe UI Semibold" panose="020B0502040204020203" pitchFamily="34" charset="0"/>
                </a:rPr>
                <a:t>Build</a:t>
              </a:r>
              <a:br>
                <a:rPr lang="en-US" sz="1568" kern="0" dirty="0">
                  <a:solidFill>
                    <a:srgbClr val="1B212A"/>
                  </a:solidFill>
                  <a:latin typeface="Segoe UI Light" panose="020B0502040204020203" pitchFamily="34" charset="0"/>
                  <a:ea typeface="Segoe UI Semibold" charset="0"/>
                  <a:cs typeface="Segoe UI Light" panose="020B0502040204020203" pitchFamily="34" charset="0"/>
                </a:rPr>
              </a:br>
              <a:r>
                <a:rPr lang="en-US" sz="1568" kern="0" dirty="0">
                  <a:solidFill>
                    <a:schemeClr val="tx1"/>
                  </a:solidFill>
                  <a:ea typeface="Segoe UI Semibold" charset="0"/>
                  <a:cs typeface="Segoe UI Light" panose="020B0502040204020203" pitchFamily="34" charset="0"/>
                </a:rPr>
                <a:t>Build and walk away</a:t>
              </a:r>
            </a:p>
          </p:txBody>
        </p:sp>
      </p:grpSp>
      <p:sp>
        <p:nvSpPr>
          <p:cNvPr id="16" name="Rectangle 15">
            <a:extLst>
              <a:ext uri="{FF2B5EF4-FFF2-40B4-BE49-F238E27FC236}">
                <a16:creationId xmlns:a16="http://schemas.microsoft.com/office/drawing/2014/main" id="{CDCEF9E2-C57B-470C-85AB-DC3E8DABA44C}"/>
              </a:ext>
            </a:extLst>
          </p:cNvPr>
          <p:cNvSpPr/>
          <p:nvPr/>
        </p:nvSpPr>
        <p:spPr bwMode="auto">
          <a:xfrm>
            <a:off x="571731" y="5586258"/>
            <a:ext cx="3402805" cy="84459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114" fontAlgn="base">
              <a:spcBef>
                <a:spcPct val="0"/>
              </a:spcBef>
              <a:spcAft>
                <a:spcPct val="0"/>
              </a:spcAft>
              <a:defRPr/>
            </a:pPr>
            <a:r>
              <a:rPr lang="en-US" sz="1372" dirty="0">
                <a:solidFill>
                  <a:schemeClr val="tx1"/>
                </a:solidFill>
                <a:cs typeface="Segoe UI Light" panose="020B0502040204020203" pitchFamily="34" charset="0"/>
              </a:rPr>
              <a:t>Initial pipelines </a:t>
            </a:r>
          </a:p>
          <a:p>
            <a:pPr marL="285750" indent="-285750" defTabSz="932114" fontAlgn="base">
              <a:spcBef>
                <a:spcPct val="0"/>
              </a:spcBef>
              <a:spcAft>
                <a:spcPct val="0"/>
              </a:spcAft>
              <a:buFont typeface="Arial" panose="020B0604020202020204" pitchFamily="34" charset="0"/>
              <a:buChar char="•"/>
              <a:defRPr/>
            </a:pPr>
            <a:r>
              <a:rPr lang="en-US" sz="1372" dirty="0">
                <a:solidFill>
                  <a:schemeClr val="tx1"/>
                </a:solidFill>
                <a:cs typeface="Segoe UI Light" panose="020B0502040204020203" pitchFamily="34" charset="0"/>
              </a:rPr>
              <a:t>Instantiates pristine development environments</a:t>
            </a:r>
          </a:p>
          <a:p>
            <a:pPr marL="285750" indent="-285750" defTabSz="932114" fontAlgn="base">
              <a:spcBef>
                <a:spcPct val="0"/>
              </a:spcBef>
              <a:spcAft>
                <a:spcPct val="0"/>
              </a:spcAft>
              <a:buFont typeface="Arial" panose="020B0604020202020204" pitchFamily="34" charset="0"/>
              <a:buChar char="•"/>
              <a:defRPr/>
            </a:pPr>
            <a:r>
              <a:rPr lang="en-US" sz="1372" dirty="0">
                <a:solidFill>
                  <a:schemeClr val="tx1"/>
                </a:solidFill>
                <a:cs typeface="Segoe UI Light" panose="020B0502040204020203" pitchFamily="34" charset="0"/>
              </a:rPr>
              <a:t>Check solutions into source control</a:t>
            </a:r>
          </a:p>
        </p:txBody>
      </p:sp>
      <p:sp>
        <p:nvSpPr>
          <p:cNvPr id="17" name="Rectangle 16">
            <a:extLst>
              <a:ext uri="{FF2B5EF4-FFF2-40B4-BE49-F238E27FC236}">
                <a16:creationId xmlns:a16="http://schemas.microsoft.com/office/drawing/2014/main" id="{52924269-F447-4F02-A8BE-04FC8DB5A2CA}"/>
              </a:ext>
            </a:extLst>
          </p:cNvPr>
          <p:cNvSpPr/>
          <p:nvPr/>
        </p:nvSpPr>
        <p:spPr bwMode="auto">
          <a:xfrm>
            <a:off x="4733106" y="5608093"/>
            <a:ext cx="2821454" cy="84459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114" fontAlgn="base">
              <a:spcBef>
                <a:spcPct val="0"/>
              </a:spcBef>
              <a:spcAft>
                <a:spcPct val="0"/>
              </a:spcAft>
              <a:defRPr/>
            </a:pPr>
            <a:r>
              <a:rPr lang="en-US" sz="1372" dirty="0">
                <a:solidFill>
                  <a:schemeClr val="tx1"/>
                </a:solidFill>
                <a:ea typeface="Segoe UI Semibold" charset="0"/>
                <a:cs typeface="Segoe UI Light" panose="020B0502040204020203" pitchFamily="34" charset="0"/>
              </a:rPr>
              <a:t>Build pipeline automates manual steps. Removes the need to manually export/import solutions and config data.</a:t>
            </a:r>
          </a:p>
        </p:txBody>
      </p:sp>
      <p:sp>
        <p:nvSpPr>
          <p:cNvPr id="18" name="Rectangle 17">
            <a:extLst>
              <a:ext uri="{FF2B5EF4-FFF2-40B4-BE49-F238E27FC236}">
                <a16:creationId xmlns:a16="http://schemas.microsoft.com/office/drawing/2014/main" id="{B114E683-BB30-4789-9D49-40C6C3DA08A6}"/>
              </a:ext>
            </a:extLst>
          </p:cNvPr>
          <p:cNvSpPr/>
          <p:nvPr/>
        </p:nvSpPr>
        <p:spPr bwMode="auto">
          <a:xfrm>
            <a:off x="8590251" y="5602795"/>
            <a:ext cx="2767115" cy="84459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114" fontAlgn="base">
              <a:spcBef>
                <a:spcPct val="0"/>
              </a:spcBef>
              <a:spcAft>
                <a:spcPct val="0"/>
              </a:spcAft>
              <a:defRPr/>
            </a:pPr>
            <a:r>
              <a:rPr lang="en-US" sz="1372" dirty="0">
                <a:solidFill>
                  <a:schemeClr val="tx1"/>
                </a:solidFill>
                <a:cs typeface="Segoe UI Light" panose="020B0502040204020203" pitchFamily="34" charset="0"/>
              </a:rPr>
              <a:t>Automated release pipeline removes manual steps. Faster deployment becomes the new standard</a:t>
            </a:r>
          </a:p>
        </p:txBody>
      </p:sp>
      <p:grpSp>
        <p:nvGrpSpPr>
          <p:cNvPr id="19" name="Group 18">
            <a:extLst>
              <a:ext uri="{FF2B5EF4-FFF2-40B4-BE49-F238E27FC236}">
                <a16:creationId xmlns:a16="http://schemas.microsoft.com/office/drawing/2014/main" id="{4651C483-6913-4863-A524-E683B54A346A}"/>
              </a:ext>
            </a:extLst>
          </p:cNvPr>
          <p:cNvGrpSpPr/>
          <p:nvPr/>
        </p:nvGrpSpPr>
        <p:grpSpPr>
          <a:xfrm>
            <a:off x="673214" y="5219807"/>
            <a:ext cx="11054498" cy="302822"/>
            <a:chOff x="415560" y="5222803"/>
            <a:chExt cx="11600408" cy="308894"/>
          </a:xfrm>
        </p:grpSpPr>
        <p:cxnSp>
          <p:nvCxnSpPr>
            <p:cNvPr id="20" name="Straight Connector 1253">
              <a:extLst>
                <a:ext uri="{FF2B5EF4-FFF2-40B4-BE49-F238E27FC236}">
                  <a16:creationId xmlns:a16="http://schemas.microsoft.com/office/drawing/2014/main" id="{223A8D58-6373-4601-A644-B8D107842DE5}"/>
                </a:ext>
              </a:extLst>
            </p:cNvPr>
            <p:cNvCxnSpPr>
              <a:cxnSpLocks/>
            </p:cNvCxnSpPr>
            <p:nvPr/>
          </p:nvCxnSpPr>
          <p:spPr>
            <a:xfrm flipV="1">
              <a:off x="1928458" y="5222804"/>
              <a:ext cx="0" cy="308893"/>
            </a:xfrm>
            <a:prstGeom prst="line">
              <a:avLst/>
            </a:prstGeom>
            <a:noFill/>
            <a:ln w="22225" cap="flat" cmpd="sng" algn="ctr">
              <a:solidFill>
                <a:schemeClr val="bg1">
                  <a:lumMod val="75000"/>
                </a:schemeClr>
              </a:solidFill>
              <a:prstDash val="sysDot"/>
              <a:miter lim="800000"/>
              <a:headEnd type="none" w="lg" len="med"/>
              <a:tailEnd type="none" w="lg" len="med"/>
            </a:ln>
            <a:effectLst/>
          </p:spPr>
        </p:cxnSp>
        <p:cxnSp>
          <p:nvCxnSpPr>
            <p:cNvPr id="21" name="Straight Connector 1253">
              <a:extLst>
                <a:ext uri="{FF2B5EF4-FFF2-40B4-BE49-F238E27FC236}">
                  <a16:creationId xmlns:a16="http://schemas.microsoft.com/office/drawing/2014/main" id="{A2939FE4-CF5E-4889-8C8D-D508D4AE007E}"/>
                </a:ext>
              </a:extLst>
            </p:cNvPr>
            <p:cNvCxnSpPr>
              <a:cxnSpLocks/>
            </p:cNvCxnSpPr>
            <p:nvPr/>
          </p:nvCxnSpPr>
          <p:spPr>
            <a:xfrm>
              <a:off x="415560" y="5222804"/>
              <a:ext cx="11600408" cy="0"/>
            </a:xfrm>
            <a:prstGeom prst="line">
              <a:avLst/>
            </a:prstGeom>
            <a:noFill/>
            <a:ln w="22225" cap="flat" cmpd="sng" algn="ctr">
              <a:solidFill>
                <a:schemeClr val="bg1">
                  <a:lumMod val="75000"/>
                </a:schemeClr>
              </a:solidFill>
              <a:prstDash val="sysDot"/>
              <a:round/>
              <a:headEnd type="none" w="lg" len="med"/>
              <a:tailEnd type="none" w="lg" len="med"/>
            </a:ln>
            <a:effectLst/>
          </p:spPr>
        </p:cxnSp>
        <p:cxnSp>
          <p:nvCxnSpPr>
            <p:cNvPr id="22" name="Straight Connector 1253">
              <a:extLst>
                <a:ext uri="{FF2B5EF4-FFF2-40B4-BE49-F238E27FC236}">
                  <a16:creationId xmlns:a16="http://schemas.microsoft.com/office/drawing/2014/main" id="{C946FB46-DA30-4625-A31A-4A555D6378E1}"/>
                </a:ext>
              </a:extLst>
            </p:cNvPr>
            <p:cNvCxnSpPr>
              <a:cxnSpLocks/>
            </p:cNvCxnSpPr>
            <p:nvPr/>
          </p:nvCxnSpPr>
          <p:spPr>
            <a:xfrm flipV="1">
              <a:off x="5995876" y="5222804"/>
              <a:ext cx="0" cy="308893"/>
            </a:xfrm>
            <a:prstGeom prst="line">
              <a:avLst/>
            </a:prstGeom>
            <a:noFill/>
            <a:ln w="22225" cap="flat" cmpd="sng" algn="ctr">
              <a:solidFill>
                <a:schemeClr val="bg1">
                  <a:lumMod val="75000"/>
                </a:schemeClr>
              </a:solidFill>
              <a:prstDash val="sysDot"/>
              <a:miter lim="800000"/>
              <a:headEnd type="none" w="lg" len="med"/>
              <a:tailEnd type="none" w="lg" len="med"/>
            </a:ln>
            <a:effectLst/>
          </p:spPr>
        </p:cxnSp>
        <p:cxnSp>
          <p:nvCxnSpPr>
            <p:cNvPr id="23" name="Straight Connector 1253">
              <a:extLst>
                <a:ext uri="{FF2B5EF4-FFF2-40B4-BE49-F238E27FC236}">
                  <a16:creationId xmlns:a16="http://schemas.microsoft.com/office/drawing/2014/main" id="{1DD0B7BD-CB0B-4333-BE7D-EC13C0BA4795}"/>
                </a:ext>
              </a:extLst>
            </p:cNvPr>
            <p:cNvCxnSpPr>
              <a:cxnSpLocks/>
            </p:cNvCxnSpPr>
            <p:nvPr/>
          </p:nvCxnSpPr>
          <p:spPr>
            <a:xfrm flipV="1">
              <a:off x="10103212" y="5222803"/>
              <a:ext cx="0" cy="308893"/>
            </a:xfrm>
            <a:prstGeom prst="line">
              <a:avLst/>
            </a:prstGeom>
            <a:noFill/>
            <a:ln w="22225" cap="flat" cmpd="sng" algn="ctr">
              <a:solidFill>
                <a:schemeClr val="bg1">
                  <a:lumMod val="75000"/>
                </a:schemeClr>
              </a:solidFill>
              <a:prstDash val="sysDot"/>
              <a:miter lim="800000"/>
              <a:headEnd type="none" w="lg" len="med"/>
              <a:tailEnd type="none" w="lg" len="med"/>
            </a:ln>
            <a:effectLst/>
          </p:spPr>
        </p:cxnSp>
      </p:grpSp>
      <p:sp>
        <p:nvSpPr>
          <p:cNvPr id="24" name="Oval 23">
            <a:extLst>
              <a:ext uri="{FF2B5EF4-FFF2-40B4-BE49-F238E27FC236}">
                <a16:creationId xmlns:a16="http://schemas.microsoft.com/office/drawing/2014/main" id="{68DD3183-7B10-4DA1-B788-F4B1352AD3CA}"/>
              </a:ext>
            </a:extLst>
          </p:cNvPr>
          <p:cNvSpPr/>
          <p:nvPr/>
        </p:nvSpPr>
        <p:spPr bwMode="auto">
          <a:xfrm>
            <a:off x="673214" y="4400827"/>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Provision </a:t>
            </a:r>
          </a:p>
          <a:p>
            <a:pPr algn="ctr" defTabSz="913049" fontAlgn="base">
              <a:spcBef>
                <a:spcPct val="0"/>
              </a:spcBef>
              <a:spcAft>
                <a:spcPct val="0"/>
              </a:spcAft>
              <a:defRPr/>
            </a:pPr>
            <a:r>
              <a:rPr lang="en-US" sz="784" kern="0" dirty="0">
                <a:solidFill>
                  <a:schemeClr val="bg1"/>
                </a:solidFill>
                <a:cs typeface="Segoe UI" pitchFamily="34" charset="0"/>
              </a:rPr>
              <a:t>environment</a:t>
            </a:r>
          </a:p>
        </p:txBody>
      </p:sp>
      <p:sp>
        <p:nvSpPr>
          <p:cNvPr id="25" name="Oval 24">
            <a:extLst>
              <a:ext uri="{FF2B5EF4-FFF2-40B4-BE49-F238E27FC236}">
                <a16:creationId xmlns:a16="http://schemas.microsoft.com/office/drawing/2014/main" id="{C002444B-75B3-4CBA-B9D8-813BB10932F1}"/>
              </a:ext>
            </a:extLst>
          </p:cNvPr>
          <p:cNvSpPr/>
          <p:nvPr/>
        </p:nvSpPr>
        <p:spPr bwMode="auto">
          <a:xfrm>
            <a:off x="1397566" y="4400827"/>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Deploy </a:t>
            </a:r>
          </a:p>
          <a:p>
            <a:pPr algn="ctr" defTabSz="913049" fontAlgn="base">
              <a:spcBef>
                <a:spcPct val="0"/>
              </a:spcBef>
              <a:spcAft>
                <a:spcPct val="0"/>
              </a:spcAft>
              <a:defRPr/>
            </a:pPr>
            <a:r>
              <a:rPr lang="en-US" sz="784" kern="0" dirty="0">
                <a:solidFill>
                  <a:schemeClr val="bg1"/>
                </a:solidFill>
                <a:cs typeface="Segoe UI" pitchFamily="34" charset="0"/>
              </a:rPr>
              <a:t>dependencies</a:t>
            </a:r>
          </a:p>
        </p:txBody>
      </p:sp>
      <p:sp>
        <p:nvSpPr>
          <p:cNvPr id="26" name="Oval 25">
            <a:extLst>
              <a:ext uri="{FF2B5EF4-FFF2-40B4-BE49-F238E27FC236}">
                <a16:creationId xmlns:a16="http://schemas.microsoft.com/office/drawing/2014/main" id="{BDB14D56-5598-4BBB-9F13-18B94F21116C}"/>
              </a:ext>
            </a:extLst>
          </p:cNvPr>
          <p:cNvSpPr/>
          <p:nvPr/>
        </p:nvSpPr>
        <p:spPr bwMode="auto">
          <a:xfrm>
            <a:off x="4662683" y="3625282"/>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Pack source </a:t>
            </a:r>
          </a:p>
          <a:p>
            <a:pPr algn="ctr" defTabSz="913049" fontAlgn="base">
              <a:spcBef>
                <a:spcPct val="0"/>
              </a:spcBef>
              <a:spcAft>
                <a:spcPct val="0"/>
              </a:spcAft>
              <a:defRPr/>
            </a:pPr>
            <a:r>
              <a:rPr lang="en-US" sz="784" kern="0" dirty="0">
                <a:solidFill>
                  <a:schemeClr val="bg1"/>
                </a:solidFill>
                <a:cs typeface="Segoe UI" pitchFamily="34" charset="0"/>
              </a:rPr>
              <a:t>code from</a:t>
            </a:r>
          </a:p>
          <a:p>
            <a:pPr algn="ctr" defTabSz="913049" fontAlgn="base">
              <a:spcBef>
                <a:spcPct val="0"/>
              </a:spcBef>
              <a:spcAft>
                <a:spcPct val="0"/>
              </a:spcAft>
              <a:defRPr/>
            </a:pPr>
            <a:r>
              <a:rPr lang="en-US" sz="784" kern="0" dirty="0">
                <a:solidFill>
                  <a:schemeClr val="bg1"/>
                </a:solidFill>
                <a:cs typeface="Segoe UI" pitchFamily="34" charset="0"/>
              </a:rPr>
              <a:t> repo</a:t>
            </a:r>
          </a:p>
        </p:txBody>
      </p:sp>
      <p:sp>
        <p:nvSpPr>
          <p:cNvPr id="27" name="Oval 26">
            <a:extLst>
              <a:ext uri="{FF2B5EF4-FFF2-40B4-BE49-F238E27FC236}">
                <a16:creationId xmlns:a16="http://schemas.microsoft.com/office/drawing/2014/main" id="{ECEF1EFD-27EC-4273-BE4C-544EC9694766}"/>
              </a:ext>
            </a:extLst>
          </p:cNvPr>
          <p:cNvSpPr/>
          <p:nvPr/>
        </p:nvSpPr>
        <p:spPr bwMode="auto">
          <a:xfrm>
            <a:off x="3939266" y="3625282"/>
            <a:ext cx="680361" cy="680361"/>
          </a:xfrm>
          <a:prstGeom prst="ellips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tx1"/>
                </a:solidFill>
                <a:cs typeface="Segoe UI" pitchFamily="34" charset="0"/>
              </a:rPr>
              <a:t>Run unit</a:t>
            </a:r>
            <a:br>
              <a:rPr lang="en-US" sz="784" kern="0" dirty="0">
                <a:solidFill>
                  <a:schemeClr val="tx1"/>
                </a:solidFill>
                <a:cs typeface="Segoe UI" pitchFamily="34" charset="0"/>
              </a:rPr>
            </a:br>
            <a:r>
              <a:rPr lang="en-US" sz="784" kern="0" dirty="0">
                <a:solidFill>
                  <a:schemeClr val="tx1"/>
                </a:solidFill>
                <a:cs typeface="Segoe UI" pitchFamily="34" charset="0"/>
              </a:rPr>
              <a:t>test for .NET </a:t>
            </a:r>
          </a:p>
          <a:p>
            <a:pPr algn="ctr" defTabSz="913049" fontAlgn="base">
              <a:spcBef>
                <a:spcPct val="0"/>
              </a:spcBef>
              <a:spcAft>
                <a:spcPct val="0"/>
              </a:spcAft>
              <a:defRPr/>
            </a:pPr>
            <a:r>
              <a:rPr lang="en-US" sz="784" kern="0" dirty="0">
                <a:solidFill>
                  <a:schemeClr val="tx1"/>
                </a:solidFill>
                <a:cs typeface="Segoe UI" pitchFamily="34" charset="0"/>
              </a:rPr>
              <a:t>and TS/JS</a:t>
            </a:r>
          </a:p>
        </p:txBody>
      </p:sp>
      <p:sp>
        <p:nvSpPr>
          <p:cNvPr id="28" name="Oval 27">
            <a:extLst>
              <a:ext uri="{FF2B5EF4-FFF2-40B4-BE49-F238E27FC236}">
                <a16:creationId xmlns:a16="http://schemas.microsoft.com/office/drawing/2014/main" id="{71CE7387-F20B-494F-8FB0-B26E3CE6E254}"/>
              </a:ext>
            </a:extLst>
          </p:cNvPr>
          <p:cNvSpPr/>
          <p:nvPr/>
        </p:nvSpPr>
        <p:spPr bwMode="auto">
          <a:xfrm>
            <a:off x="5390200" y="3625712"/>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Run solution </a:t>
            </a:r>
          </a:p>
          <a:p>
            <a:pPr algn="ctr" defTabSz="913049" fontAlgn="base">
              <a:spcBef>
                <a:spcPct val="0"/>
              </a:spcBef>
              <a:spcAft>
                <a:spcPct val="0"/>
              </a:spcAft>
              <a:defRPr/>
            </a:pPr>
            <a:r>
              <a:rPr lang="en-US" sz="784" kern="0" dirty="0">
                <a:solidFill>
                  <a:schemeClr val="bg1"/>
                </a:solidFill>
                <a:cs typeface="Segoe UI" pitchFamily="34" charset="0"/>
              </a:rPr>
              <a:t>checker</a:t>
            </a:r>
          </a:p>
        </p:txBody>
      </p:sp>
      <p:sp>
        <p:nvSpPr>
          <p:cNvPr id="29" name="Oval 28">
            <a:extLst>
              <a:ext uri="{FF2B5EF4-FFF2-40B4-BE49-F238E27FC236}">
                <a16:creationId xmlns:a16="http://schemas.microsoft.com/office/drawing/2014/main" id="{92188E62-0F3A-4581-886C-8020A6C60CB2}"/>
              </a:ext>
            </a:extLst>
          </p:cNvPr>
          <p:cNvSpPr/>
          <p:nvPr/>
        </p:nvSpPr>
        <p:spPr bwMode="auto">
          <a:xfrm>
            <a:off x="6117717" y="3625281"/>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Import</a:t>
            </a:r>
          </a:p>
          <a:p>
            <a:pPr algn="ctr" defTabSz="913049" fontAlgn="base">
              <a:spcBef>
                <a:spcPct val="0"/>
              </a:spcBef>
              <a:spcAft>
                <a:spcPct val="0"/>
              </a:spcAft>
              <a:defRPr/>
            </a:pPr>
            <a:r>
              <a:rPr lang="en-US" sz="784" kern="0" dirty="0">
                <a:solidFill>
                  <a:schemeClr val="bg1"/>
                </a:solidFill>
                <a:cs typeface="Segoe UI" pitchFamily="34" charset="0"/>
              </a:rPr>
              <a:t> solution</a:t>
            </a:r>
          </a:p>
          <a:p>
            <a:pPr algn="ctr" defTabSz="913049" fontAlgn="base">
              <a:spcBef>
                <a:spcPct val="0"/>
              </a:spcBef>
              <a:spcAft>
                <a:spcPct val="0"/>
              </a:spcAft>
              <a:defRPr/>
            </a:pPr>
            <a:r>
              <a:rPr lang="en-US" sz="784" kern="0" dirty="0">
                <a:solidFill>
                  <a:schemeClr val="bg1"/>
                </a:solidFill>
                <a:cs typeface="Segoe UI" pitchFamily="34" charset="0"/>
              </a:rPr>
              <a:t>to build</a:t>
            </a:r>
          </a:p>
        </p:txBody>
      </p:sp>
      <p:sp>
        <p:nvSpPr>
          <p:cNvPr id="30" name="Oval 29">
            <a:extLst>
              <a:ext uri="{FF2B5EF4-FFF2-40B4-BE49-F238E27FC236}">
                <a16:creationId xmlns:a16="http://schemas.microsoft.com/office/drawing/2014/main" id="{A725975D-7938-4D09-830E-9C59D0DD22DA}"/>
              </a:ext>
            </a:extLst>
          </p:cNvPr>
          <p:cNvSpPr/>
          <p:nvPr/>
        </p:nvSpPr>
        <p:spPr bwMode="auto">
          <a:xfrm>
            <a:off x="7562510" y="3627394"/>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Export as</a:t>
            </a:r>
          </a:p>
          <a:p>
            <a:pPr algn="ctr" defTabSz="913049" fontAlgn="base">
              <a:spcBef>
                <a:spcPct val="0"/>
              </a:spcBef>
              <a:spcAft>
                <a:spcPct val="0"/>
              </a:spcAft>
              <a:defRPr/>
            </a:pPr>
            <a:r>
              <a:rPr lang="en-US" sz="784" kern="0" dirty="0">
                <a:solidFill>
                  <a:schemeClr val="bg1"/>
                </a:solidFill>
                <a:cs typeface="Segoe UI" pitchFamily="34" charset="0"/>
              </a:rPr>
              <a:t>managed </a:t>
            </a:r>
          </a:p>
          <a:p>
            <a:pPr algn="ctr" defTabSz="913049" fontAlgn="base">
              <a:spcBef>
                <a:spcPct val="0"/>
              </a:spcBef>
              <a:spcAft>
                <a:spcPct val="0"/>
              </a:spcAft>
              <a:defRPr/>
            </a:pPr>
            <a:r>
              <a:rPr lang="en-US" sz="784" kern="0" dirty="0">
                <a:solidFill>
                  <a:schemeClr val="bg1"/>
                </a:solidFill>
                <a:cs typeface="Segoe UI" pitchFamily="34" charset="0"/>
              </a:rPr>
              <a:t>solution</a:t>
            </a:r>
          </a:p>
        </p:txBody>
      </p:sp>
      <p:sp>
        <p:nvSpPr>
          <p:cNvPr id="31" name="Oval 30">
            <a:extLst>
              <a:ext uri="{FF2B5EF4-FFF2-40B4-BE49-F238E27FC236}">
                <a16:creationId xmlns:a16="http://schemas.microsoft.com/office/drawing/2014/main" id="{088ED470-EB27-4C44-AA18-9031A978D8D9}"/>
              </a:ext>
            </a:extLst>
          </p:cNvPr>
          <p:cNvSpPr/>
          <p:nvPr/>
        </p:nvSpPr>
        <p:spPr bwMode="auto">
          <a:xfrm>
            <a:off x="10170427" y="3594311"/>
            <a:ext cx="680361" cy="680361"/>
          </a:xfrm>
          <a:prstGeom prst="ellips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tx1"/>
                </a:solidFill>
                <a:ea typeface="Segoe UI" pitchFamily="34" charset="0"/>
                <a:cs typeface="Segoe UI" pitchFamily="34" charset="0"/>
              </a:rPr>
              <a:t>Run </a:t>
            </a:r>
          </a:p>
          <a:p>
            <a:pPr algn="ctr" defTabSz="913049" fontAlgn="base">
              <a:spcBef>
                <a:spcPct val="0"/>
              </a:spcBef>
              <a:spcAft>
                <a:spcPct val="0"/>
              </a:spcAft>
              <a:defRPr/>
            </a:pPr>
            <a:r>
              <a:rPr lang="en-US" sz="784" kern="0" dirty="0">
                <a:solidFill>
                  <a:schemeClr val="tx1"/>
                </a:solidFill>
                <a:ea typeface="Segoe UI" pitchFamily="34" charset="0"/>
                <a:cs typeface="Segoe UI" pitchFamily="34" charset="0"/>
              </a:rPr>
              <a:t>integration </a:t>
            </a:r>
          </a:p>
          <a:p>
            <a:pPr algn="ctr" defTabSz="913049" fontAlgn="base">
              <a:spcBef>
                <a:spcPct val="0"/>
              </a:spcBef>
              <a:spcAft>
                <a:spcPct val="0"/>
              </a:spcAft>
              <a:defRPr/>
            </a:pPr>
            <a:r>
              <a:rPr lang="en-US" sz="784" kern="0" dirty="0">
                <a:solidFill>
                  <a:schemeClr val="tx1"/>
                </a:solidFill>
                <a:ea typeface="Segoe UI" pitchFamily="34" charset="0"/>
                <a:cs typeface="Segoe UI" pitchFamily="34" charset="0"/>
              </a:rPr>
              <a:t>test</a:t>
            </a:r>
          </a:p>
        </p:txBody>
      </p:sp>
      <p:sp>
        <p:nvSpPr>
          <p:cNvPr id="32" name="Oval 31">
            <a:extLst>
              <a:ext uri="{FF2B5EF4-FFF2-40B4-BE49-F238E27FC236}">
                <a16:creationId xmlns:a16="http://schemas.microsoft.com/office/drawing/2014/main" id="{CC3D5077-622C-468F-A364-BD4D14CF33B1}"/>
              </a:ext>
            </a:extLst>
          </p:cNvPr>
          <p:cNvSpPr/>
          <p:nvPr/>
        </p:nvSpPr>
        <p:spPr bwMode="auto">
          <a:xfrm>
            <a:off x="6837034" y="3621430"/>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Increment </a:t>
            </a:r>
          </a:p>
          <a:p>
            <a:pPr algn="ctr" defTabSz="913049" fontAlgn="base">
              <a:spcBef>
                <a:spcPct val="0"/>
              </a:spcBef>
              <a:spcAft>
                <a:spcPct val="0"/>
              </a:spcAft>
              <a:defRPr/>
            </a:pPr>
            <a:r>
              <a:rPr lang="en-US" sz="784" kern="0" dirty="0">
                <a:solidFill>
                  <a:schemeClr val="bg1"/>
                </a:solidFill>
                <a:cs typeface="Segoe UI" pitchFamily="34" charset="0"/>
              </a:rPr>
              <a:t>version</a:t>
            </a:r>
          </a:p>
        </p:txBody>
      </p:sp>
      <p:sp>
        <p:nvSpPr>
          <p:cNvPr id="33" name="Oval 32">
            <a:extLst>
              <a:ext uri="{FF2B5EF4-FFF2-40B4-BE49-F238E27FC236}">
                <a16:creationId xmlns:a16="http://schemas.microsoft.com/office/drawing/2014/main" id="{886D233B-170C-43AC-B649-3EBF52D261C2}"/>
              </a:ext>
            </a:extLst>
          </p:cNvPr>
          <p:cNvSpPr/>
          <p:nvPr/>
        </p:nvSpPr>
        <p:spPr bwMode="auto">
          <a:xfrm>
            <a:off x="673214" y="3625282"/>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Create</a:t>
            </a:r>
          </a:p>
          <a:p>
            <a:pPr algn="ctr" defTabSz="913049" fontAlgn="base">
              <a:spcBef>
                <a:spcPct val="0"/>
              </a:spcBef>
              <a:spcAft>
                <a:spcPct val="0"/>
              </a:spcAft>
              <a:defRPr/>
            </a:pPr>
            <a:r>
              <a:rPr lang="en-US" sz="784" kern="0" dirty="0">
                <a:solidFill>
                  <a:schemeClr val="bg1"/>
                </a:solidFill>
                <a:cs typeface="Segoe UI" pitchFamily="34" charset="0"/>
              </a:rPr>
              <a:t>branch</a:t>
            </a:r>
          </a:p>
        </p:txBody>
      </p:sp>
      <p:sp>
        <p:nvSpPr>
          <p:cNvPr id="34" name="Oval 33">
            <a:extLst>
              <a:ext uri="{FF2B5EF4-FFF2-40B4-BE49-F238E27FC236}">
                <a16:creationId xmlns:a16="http://schemas.microsoft.com/office/drawing/2014/main" id="{DEAC8555-50BB-4266-AC16-ECFEBB26395E}"/>
              </a:ext>
            </a:extLst>
          </p:cNvPr>
          <p:cNvSpPr/>
          <p:nvPr/>
        </p:nvSpPr>
        <p:spPr bwMode="auto">
          <a:xfrm>
            <a:off x="1397566" y="3625282"/>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Export</a:t>
            </a:r>
          </a:p>
          <a:p>
            <a:pPr algn="ctr" defTabSz="913049" fontAlgn="base">
              <a:spcBef>
                <a:spcPct val="0"/>
              </a:spcBef>
              <a:spcAft>
                <a:spcPct val="0"/>
              </a:spcAft>
              <a:defRPr/>
            </a:pPr>
            <a:r>
              <a:rPr lang="en-US" sz="784" kern="0" dirty="0">
                <a:solidFill>
                  <a:schemeClr val="bg1"/>
                </a:solidFill>
                <a:cs typeface="Segoe UI" pitchFamily="34" charset="0"/>
              </a:rPr>
              <a:t>unmanaged</a:t>
            </a:r>
          </a:p>
          <a:p>
            <a:pPr algn="ctr" defTabSz="913049" fontAlgn="base">
              <a:spcBef>
                <a:spcPct val="0"/>
              </a:spcBef>
              <a:spcAft>
                <a:spcPct val="0"/>
              </a:spcAft>
              <a:defRPr/>
            </a:pPr>
            <a:r>
              <a:rPr lang="en-US" sz="784" kern="0" dirty="0">
                <a:solidFill>
                  <a:schemeClr val="bg1"/>
                </a:solidFill>
                <a:cs typeface="Segoe UI" pitchFamily="34" charset="0"/>
              </a:rPr>
              <a:t>solution</a:t>
            </a:r>
          </a:p>
        </p:txBody>
      </p:sp>
      <p:sp>
        <p:nvSpPr>
          <p:cNvPr id="35" name="Oval 34">
            <a:extLst>
              <a:ext uri="{FF2B5EF4-FFF2-40B4-BE49-F238E27FC236}">
                <a16:creationId xmlns:a16="http://schemas.microsoft.com/office/drawing/2014/main" id="{624A3FA8-E4A5-484A-91ED-74D7DA279AC7}"/>
              </a:ext>
            </a:extLst>
          </p:cNvPr>
          <p:cNvSpPr/>
          <p:nvPr/>
        </p:nvSpPr>
        <p:spPr bwMode="auto">
          <a:xfrm>
            <a:off x="2121918" y="3625282"/>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Unpack</a:t>
            </a:r>
          </a:p>
          <a:p>
            <a:pPr algn="ctr" defTabSz="913049" fontAlgn="base">
              <a:spcBef>
                <a:spcPct val="0"/>
              </a:spcBef>
              <a:spcAft>
                <a:spcPct val="0"/>
              </a:spcAft>
              <a:defRPr/>
            </a:pPr>
            <a:r>
              <a:rPr lang="en-US" sz="784" kern="0" dirty="0">
                <a:solidFill>
                  <a:schemeClr val="bg1"/>
                </a:solidFill>
                <a:cs typeface="Segoe UI" pitchFamily="34" charset="0"/>
              </a:rPr>
              <a:t>solution</a:t>
            </a:r>
          </a:p>
        </p:txBody>
      </p:sp>
      <p:sp>
        <p:nvSpPr>
          <p:cNvPr id="36" name="Oval 35">
            <a:extLst>
              <a:ext uri="{FF2B5EF4-FFF2-40B4-BE49-F238E27FC236}">
                <a16:creationId xmlns:a16="http://schemas.microsoft.com/office/drawing/2014/main" id="{8CC9024F-164D-46A0-8BEE-0427D2CFFEB3}"/>
              </a:ext>
            </a:extLst>
          </p:cNvPr>
          <p:cNvSpPr/>
          <p:nvPr/>
        </p:nvSpPr>
        <p:spPr bwMode="auto">
          <a:xfrm>
            <a:off x="2846270" y="3625282"/>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Check in </a:t>
            </a:r>
          </a:p>
          <a:p>
            <a:pPr algn="ctr" defTabSz="913049" fontAlgn="base">
              <a:spcBef>
                <a:spcPct val="0"/>
              </a:spcBef>
              <a:spcAft>
                <a:spcPct val="0"/>
              </a:spcAft>
              <a:defRPr/>
            </a:pPr>
            <a:r>
              <a:rPr lang="en-US" sz="784" kern="0" dirty="0">
                <a:solidFill>
                  <a:schemeClr val="bg1"/>
                </a:solidFill>
                <a:cs typeface="Segoe UI" pitchFamily="34" charset="0"/>
              </a:rPr>
              <a:t>to source</a:t>
            </a:r>
          </a:p>
        </p:txBody>
      </p:sp>
      <p:grpSp>
        <p:nvGrpSpPr>
          <p:cNvPr id="37" name="Group 36">
            <a:extLst>
              <a:ext uri="{FF2B5EF4-FFF2-40B4-BE49-F238E27FC236}">
                <a16:creationId xmlns:a16="http://schemas.microsoft.com/office/drawing/2014/main" id="{9B9BC394-9212-4AC9-AB96-A9691D538CE4}"/>
              </a:ext>
            </a:extLst>
          </p:cNvPr>
          <p:cNvGrpSpPr/>
          <p:nvPr/>
        </p:nvGrpSpPr>
        <p:grpSpPr>
          <a:xfrm>
            <a:off x="8560956" y="2089084"/>
            <a:ext cx="3081471" cy="1307576"/>
            <a:chOff x="8289073" y="1472373"/>
            <a:chExt cx="3081471" cy="1307576"/>
          </a:xfrm>
        </p:grpSpPr>
        <p:sp>
          <p:nvSpPr>
            <p:cNvPr id="38" name="TextBox 37">
              <a:extLst>
                <a:ext uri="{FF2B5EF4-FFF2-40B4-BE49-F238E27FC236}">
                  <a16:creationId xmlns:a16="http://schemas.microsoft.com/office/drawing/2014/main" id="{11437FF3-E692-46A9-83E8-3566588472BD}"/>
                </a:ext>
              </a:extLst>
            </p:cNvPr>
            <p:cNvSpPr txBox="1"/>
            <p:nvPr/>
          </p:nvSpPr>
          <p:spPr>
            <a:xfrm>
              <a:off x="8289073" y="2267014"/>
              <a:ext cx="3081471" cy="512935"/>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algn="ctr" defTabSz="895526">
                <a:lnSpc>
                  <a:spcPct val="100000"/>
                </a:lnSpc>
                <a:defRPr/>
              </a:pPr>
              <a:r>
                <a:rPr lang="en-US" sz="1765" b="1" kern="0" dirty="0">
                  <a:solidFill>
                    <a:srgbClr val="742774"/>
                  </a:solidFill>
                  <a:latin typeface="Segoe UI Semibold" panose="020B0502040204020203" pitchFamily="34" charset="0"/>
                  <a:ea typeface="Segoe UI Semibold" charset="0"/>
                  <a:cs typeface="Segoe UI Semibold" panose="020B0502040204020203" pitchFamily="34" charset="0"/>
                </a:rPr>
                <a:t>Release</a:t>
              </a:r>
              <a:br>
                <a:rPr lang="en-US" sz="1568" kern="0" dirty="0">
                  <a:solidFill>
                    <a:srgbClr val="1B212A"/>
                  </a:solidFill>
                  <a:latin typeface="Segoe UI Light" panose="020B0502040204020203" pitchFamily="34" charset="0"/>
                  <a:ea typeface="Segoe UI Semibold" charset="0"/>
                  <a:cs typeface="Segoe UI Light" panose="020B0502040204020203" pitchFamily="34" charset="0"/>
                </a:rPr>
              </a:br>
              <a:r>
                <a:rPr lang="en-US" sz="1568" kern="0" dirty="0">
                  <a:solidFill>
                    <a:schemeClr val="tx1"/>
                  </a:solidFill>
                  <a:ea typeface="Segoe UI Semibold" charset="0"/>
                  <a:cs typeface="Segoe UI Light" panose="020B0502040204020203" pitchFamily="34" charset="0"/>
                </a:rPr>
                <a:t>Automated, predictive, repeatable</a:t>
              </a:r>
            </a:p>
          </p:txBody>
        </p:sp>
        <p:grpSp>
          <p:nvGrpSpPr>
            <p:cNvPr id="39" name="Group 38">
              <a:extLst>
                <a:ext uri="{FF2B5EF4-FFF2-40B4-BE49-F238E27FC236}">
                  <a16:creationId xmlns:a16="http://schemas.microsoft.com/office/drawing/2014/main" id="{6DD77C99-8BEB-4C7D-B9F6-D1AF0E69D943}"/>
                </a:ext>
              </a:extLst>
            </p:cNvPr>
            <p:cNvGrpSpPr/>
            <p:nvPr/>
          </p:nvGrpSpPr>
          <p:grpSpPr>
            <a:xfrm>
              <a:off x="9483440" y="1472373"/>
              <a:ext cx="692737" cy="692735"/>
              <a:chOff x="9289921" y="1511161"/>
              <a:chExt cx="706628" cy="706626"/>
            </a:xfrm>
          </p:grpSpPr>
          <p:sp>
            <p:nvSpPr>
              <p:cNvPr id="40" name="Oval 39">
                <a:extLst>
                  <a:ext uri="{FF2B5EF4-FFF2-40B4-BE49-F238E27FC236}">
                    <a16:creationId xmlns:a16="http://schemas.microsoft.com/office/drawing/2014/main" id="{86B3F0E8-8F86-4587-8471-8D23AF87FD24}"/>
                  </a:ext>
                </a:extLst>
              </p:cNvPr>
              <p:cNvSpPr/>
              <p:nvPr/>
            </p:nvSpPr>
            <p:spPr bwMode="auto">
              <a:xfrm>
                <a:off x="9289921" y="1511161"/>
                <a:ext cx="706628" cy="706626"/>
              </a:xfrm>
              <a:prstGeom prst="ellipse">
                <a:avLst/>
              </a:prstGeom>
              <a:solidFill>
                <a:srgbClr val="000000"/>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cs typeface="Segoe UI" pitchFamily="34" charset="0"/>
                </a:endParaRPr>
              </a:p>
            </p:txBody>
          </p:sp>
          <p:sp>
            <p:nvSpPr>
              <p:cNvPr id="41" name="arrow_24" title="Icon of an arrow pointing out of a box">
                <a:extLst>
                  <a:ext uri="{FF2B5EF4-FFF2-40B4-BE49-F238E27FC236}">
                    <a16:creationId xmlns:a16="http://schemas.microsoft.com/office/drawing/2014/main" id="{4E1B63C0-7093-4D32-8C64-0FDAE01CA5E7}"/>
                  </a:ext>
                </a:extLst>
              </p:cNvPr>
              <p:cNvSpPr>
                <a:spLocks noChangeAspect="1" noEditPoints="1"/>
              </p:cNvSpPr>
              <p:nvPr/>
            </p:nvSpPr>
            <p:spPr bwMode="auto">
              <a:xfrm>
                <a:off x="9428036" y="1700123"/>
                <a:ext cx="430400" cy="328702"/>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1765" dirty="0">
                  <a:gradFill>
                    <a:gsLst>
                      <a:gs pos="0">
                        <a:srgbClr val="505050"/>
                      </a:gs>
                      <a:gs pos="100000">
                        <a:srgbClr val="505050"/>
                      </a:gs>
                    </a:gsLst>
                    <a:lin ang="5400000" scaled="1"/>
                  </a:gradFill>
                </a:endParaRPr>
              </a:p>
            </p:txBody>
          </p:sp>
        </p:grpSp>
      </p:grpSp>
      <p:sp>
        <p:nvSpPr>
          <p:cNvPr id="42" name="Oval 41">
            <a:extLst>
              <a:ext uri="{FF2B5EF4-FFF2-40B4-BE49-F238E27FC236}">
                <a16:creationId xmlns:a16="http://schemas.microsoft.com/office/drawing/2014/main" id="{8174F9AC-23E3-4024-A63B-07F3616D3187}"/>
              </a:ext>
            </a:extLst>
          </p:cNvPr>
          <p:cNvSpPr/>
          <p:nvPr/>
        </p:nvSpPr>
        <p:spPr bwMode="auto">
          <a:xfrm>
            <a:off x="2123920" y="4406185"/>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Pack Solution </a:t>
            </a:r>
          </a:p>
          <a:p>
            <a:pPr algn="ctr" defTabSz="913049" fontAlgn="base">
              <a:spcBef>
                <a:spcPct val="0"/>
              </a:spcBef>
              <a:spcAft>
                <a:spcPct val="0"/>
              </a:spcAft>
              <a:defRPr/>
            </a:pPr>
            <a:r>
              <a:rPr lang="en-US" sz="784" kern="0" dirty="0">
                <a:solidFill>
                  <a:schemeClr val="bg1"/>
                </a:solidFill>
                <a:cs typeface="Segoe UI" pitchFamily="34" charset="0"/>
              </a:rPr>
              <a:t>from repo</a:t>
            </a:r>
          </a:p>
        </p:txBody>
      </p:sp>
      <p:sp>
        <p:nvSpPr>
          <p:cNvPr id="43" name="Oval 42">
            <a:extLst>
              <a:ext uri="{FF2B5EF4-FFF2-40B4-BE49-F238E27FC236}">
                <a16:creationId xmlns:a16="http://schemas.microsoft.com/office/drawing/2014/main" id="{F22D6902-497E-493E-AE8C-595DF1D2347A}"/>
              </a:ext>
            </a:extLst>
          </p:cNvPr>
          <p:cNvSpPr/>
          <p:nvPr/>
        </p:nvSpPr>
        <p:spPr bwMode="auto">
          <a:xfrm>
            <a:off x="2850275" y="4404811"/>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Import </a:t>
            </a:r>
          </a:p>
          <a:p>
            <a:pPr algn="ctr" defTabSz="913049" fontAlgn="base">
              <a:spcBef>
                <a:spcPct val="0"/>
              </a:spcBef>
              <a:spcAft>
                <a:spcPct val="0"/>
              </a:spcAft>
              <a:defRPr/>
            </a:pPr>
            <a:r>
              <a:rPr lang="en-US" sz="784" kern="0" dirty="0">
                <a:solidFill>
                  <a:schemeClr val="bg1"/>
                </a:solidFill>
                <a:cs typeface="Segoe UI" pitchFamily="34" charset="0"/>
              </a:rPr>
              <a:t>solution</a:t>
            </a:r>
          </a:p>
        </p:txBody>
      </p:sp>
      <p:cxnSp>
        <p:nvCxnSpPr>
          <p:cNvPr id="44" name="Straight Connector 1253">
            <a:extLst>
              <a:ext uri="{FF2B5EF4-FFF2-40B4-BE49-F238E27FC236}">
                <a16:creationId xmlns:a16="http://schemas.microsoft.com/office/drawing/2014/main" id="{3F167286-DC42-43B6-B213-6D2D29609A47}"/>
              </a:ext>
            </a:extLst>
          </p:cNvPr>
          <p:cNvCxnSpPr>
            <a:cxnSpLocks/>
          </p:cNvCxnSpPr>
          <p:nvPr/>
        </p:nvCxnSpPr>
        <p:spPr>
          <a:xfrm>
            <a:off x="8330372" y="3961318"/>
            <a:ext cx="259879" cy="0"/>
          </a:xfrm>
          <a:prstGeom prst="line">
            <a:avLst/>
          </a:prstGeom>
          <a:noFill/>
          <a:ln w="22225" cap="flat" cmpd="sng" algn="ctr">
            <a:solidFill>
              <a:schemeClr val="bg1">
                <a:lumMod val="75000"/>
              </a:schemeClr>
            </a:solidFill>
            <a:prstDash val="sysDot"/>
            <a:miter lim="800000"/>
            <a:headEnd type="none" w="lg" len="med"/>
            <a:tailEnd type="none" w="lg" len="med"/>
          </a:ln>
          <a:effectLst/>
        </p:spPr>
      </p:cxnSp>
      <p:sp>
        <p:nvSpPr>
          <p:cNvPr id="45" name="Oval 44">
            <a:extLst>
              <a:ext uri="{FF2B5EF4-FFF2-40B4-BE49-F238E27FC236}">
                <a16:creationId xmlns:a16="http://schemas.microsoft.com/office/drawing/2014/main" id="{76EA5E63-534B-45C5-9CF0-E4D902BF641F}"/>
              </a:ext>
            </a:extLst>
          </p:cNvPr>
          <p:cNvSpPr/>
          <p:nvPr/>
        </p:nvSpPr>
        <p:spPr bwMode="auto">
          <a:xfrm>
            <a:off x="8660113" y="3614690"/>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Import</a:t>
            </a:r>
          </a:p>
          <a:p>
            <a:pPr algn="ctr" defTabSz="913049" fontAlgn="base">
              <a:spcBef>
                <a:spcPct val="0"/>
              </a:spcBef>
              <a:spcAft>
                <a:spcPct val="0"/>
              </a:spcAft>
              <a:defRPr/>
            </a:pPr>
            <a:r>
              <a:rPr lang="en-US" sz="784" kern="0" dirty="0">
                <a:solidFill>
                  <a:schemeClr val="bg1"/>
                </a:solidFill>
                <a:cs typeface="Segoe UI" pitchFamily="34" charset="0"/>
              </a:rPr>
              <a:t> solution</a:t>
            </a:r>
          </a:p>
          <a:p>
            <a:pPr algn="ctr" defTabSz="913049" fontAlgn="base">
              <a:spcBef>
                <a:spcPct val="0"/>
              </a:spcBef>
              <a:spcAft>
                <a:spcPct val="0"/>
              </a:spcAft>
              <a:defRPr/>
            </a:pPr>
            <a:r>
              <a:rPr lang="en-US" sz="784" kern="0" dirty="0">
                <a:solidFill>
                  <a:schemeClr val="bg1"/>
                </a:solidFill>
                <a:cs typeface="Segoe UI" pitchFamily="34" charset="0"/>
              </a:rPr>
              <a:t>to target</a:t>
            </a:r>
          </a:p>
        </p:txBody>
      </p:sp>
      <p:sp>
        <p:nvSpPr>
          <p:cNvPr id="46" name="Oval 45">
            <a:extLst>
              <a:ext uri="{FF2B5EF4-FFF2-40B4-BE49-F238E27FC236}">
                <a16:creationId xmlns:a16="http://schemas.microsoft.com/office/drawing/2014/main" id="{E74C10A4-0114-420D-8674-D3272AAA1465}"/>
              </a:ext>
            </a:extLst>
          </p:cNvPr>
          <p:cNvSpPr/>
          <p:nvPr/>
        </p:nvSpPr>
        <p:spPr bwMode="auto">
          <a:xfrm>
            <a:off x="10925584" y="3598239"/>
            <a:ext cx="680361" cy="680361"/>
          </a:xfrm>
          <a:prstGeom prst="ellips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tx1"/>
                </a:solidFill>
                <a:ea typeface="Segoe UI" pitchFamily="34" charset="0"/>
                <a:cs typeface="Segoe UI" pitchFamily="34" charset="0"/>
              </a:rPr>
              <a:t>Run </a:t>
            </a:r>
          </a:p>
          <a:p>
            <a:pPr algn="ctr" defTabSz="913049" fontAlgn="base">
              <a:spcBef>
                <a:spcPct val="0"/>
              </a:spcBef>
              <a:spcAft>
                <a:spcPct val="0"/>
              </a:spcAft>
              <a:defRPr/>
            </a:pPr>
            <a:r>
              <a:rPr lang="en-US" sz="784" kern="0" dirty="0">
                <a:solidFill>
                  <a:schemeClr val="tx1"/>
                </a:solidFill>
                <a:ea typeface="Segoe UI" pitchFamily="34" charset="0"/>
                <a:cs typeface="Segoe UI" pitchFamily="34" charset="0"/>
              </a:rPr>
              <a:t>functional </a:t>
            </a:r>
          </a:p>
          <a:p>
            <a:pPr algn="ctr" defTabSz="913049" fontAlgn="base">
              <a:spcBef>
                <a:spcPct val="0"/>
              </a:spcBef>
              <a:spcAft>
                <a:spcPct val="0"/>
              </a:spcAft>
              <a:defRPr/>
            </a:pPr>
            <a:r>
              <a:rPr lang="en-US" sz="784" kern="0" dirty="0">
                <a:solidFill>
                  <a:schemeClr val="tx1"/>
                </a:solidFill>
                <a:ea typeface="Segoe UI" pitchFamily="34" charset="0"/>
                <a:cs typeface="Segoe UI" pitchFamily="34" charset="0"/>
              </a:rPr>
              <a:t>test</a:t>
            </a:r>
          </a:p>
        </p:txBody>
      </p:sp>
      <p:sp>
        <p:nvSpPr>
          <p:cNvPr id="47" name="Oval 46">
            <a:extLst>
              <a:ext uri="{FF2B5EF4-FFF2-40B4-BE49-F238E27FC236}">
                <a16:creationId xmlns:a16="http://schemas.microsoft.com/office/drawing/2014/main" id="{76A099C9-56F3-4F6F-B22C-42AAEDE42676}"/>
              </a:ext>
            </a:extLst>
          </p:cNvPr>
          <p:cNvSpPr/>
          <p:nvPr/>
        </p:nvSpPr>
        <p:spPr bwMode="auto">
          <a:xfrm>
            <a:off x="9415270" y="3621138"/>
            <a:ext cx="680361" cy="680361"/>
          </a:xfrm>
          <a:prstGeom prst="ellipse">
            <a:avLst/>
          </a:prstGeom>
          <a:solidFill>
            <a:schemeClr val="tx1">
              <a:lumMod val="75000"/>
              <a:lumOff val="2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algn="ctr" defTabSz="913049" fontAlgn="base">
              <a:spcBef>
                <a:spcPct val="0"/>
              </a:spcBef>
              <a:spcAft>
                <a:spcPct val="0"/>
              </a:spcAft>
              <a:defRPr/>
            </a:pPr>
            <a:r>
              <a:rPr lang="en-US" sz="784" kern="0" dirty="0">
                <a:solidFill>
                  <a:schemeClr val="bg1"/>
                </a:solidFill>
                <a:cs typeface="Segoe UI" pitchFamily="34" charset="0"/>
              </a:rPr>
              <a:t>Migrate </a:t>
            </a:r>
          </a:p>
          <a:p>
            <a:pPr algn="ctr" defTabSz="913049" fontAlgn="base">
              <a:spcBef>
                <a:spcPct val="0"/>
              </a:spcBef>
              <a:spcAft>
                <a:spcPct val="0"/>
              </a:spcAft>
              <a:defRPr/>
            </a:pPr>
            <a:r>
              <a:rPr lang="en-US" sz="784" kern="0" dirty="0">
                <a:solidFill>
                  <a:schemeClr val="bg1"/>
                </a:solidFill>
                <a:cs typeface="Segoe UI" pitchFamily="34" charset="0"/>
              </a:rPr>
              <a:t>config </a:t>
            </a:r>
          </a:p>
          <a:p>
            <a:pPr algn="ctr" defTabSz="913049" fontAlgn="base">
              <a:spcBef>
                <a:spcPct val="0"/>
              </a:spcBef>
              <a:spcAft>
                <a:spcPct val="0"/>
              </a:spcAft>
              <a:defRPr/>
            </a:pPr>
            <a:r>
              <a:rPr lang="en-US" sz="784" kern="0" dirty="0">
                <a:solidFill>
                  <a:schemeClr val="bg1"/>
                </a:solidFill>
                <a:cs typeface="Segoe UI" pitchFamily="34" charset="0"/>
              </a:rPr>
              <a:t>data</a:t>
            </a:r>
          </a:p>
        </p:txBody>
      </p:sp>
      <p:sp>
        <p:nvSpPr>
          <p:cNvPr id="2" name="Footer Placeholder 2">
            <a:extLst>
              <a:ext uri="{FF2B5EF4-FFF2-40B4-BE49-F238E27FC236}">
                <a16:creationId xmlns:a16="http://schemas.microsoft.com/office/drawing/2014/main" id="{0EABBF8D-4FCC-7DC5-8ED7-CBCB6344023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28065359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ppt_x"/>
                                          </p:val>
                                        </p:tav>
                                        <p:tav tm="100000">
                                          <p:val>
                                            <p:strVal val="#ppt_x"/>
                                          </p:val>
                                        </p:tav>
                                      </p:tavLst>
                                    </p:anim>
                                    <p:anim calcmode="lin" valueType="num">
                                      <p:cBhvr additive="base">
                                        <p:cTn id="12" dur="500" fill="hold"/>
                                        <p:tgtEl>
                                          <p:spTgt spid="3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500" fill="hold"/>
                                        <p:tgtEl>
                                          <p:spTgt spid="33"/>
                                        </p:tgtEl>
                                        <p:attrNameLst>
                                          <p:attrName>ppt_x</p:attrName>
                                        </p:attrNameLst>
                                      </p:cBhvr>
                                      <p:tavLst>
                                        <p:tav tm="0">
                                          <p:val>
                                            <p:strVal val="#ppt_x"/>
                                          </p:val>
                                        </p:tav>
                                        <p:tav tm="100000">
                                          <p:val>
                                            <p:strVal val="#ppt_x"/>
                                          </p:val>
                                        </p:tav>
                                      </p:tavLst>
                                    </p:anim>
                                    <p:anim calcmode="lin" valueType="num">
                                      <p:cBhvr additive="base">
                                        <p:cTn id="16" dur="500" fill="hold"/>
                                        <p:tgtEl>
                                          <p:spTgt spid="3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500" fill="hold"/>
                                        <p:tgtEl>
                                          <p:spTgt spid="25"/>
                                        </p:tgtEl>
                                        <p:attrNameLst>
                                          <p:attrName>ppt_x</p:attrName>
                                        </p:attrNameLst>
                                      </p:cBhvr>
                                      <p:tavLst>
                                        <p:tav tm="0">
                                          <p:val>
                                            <p:strVal val="#ppt_x"/>
                                          </p:val>
                                        </p:tav>
                                        <p:tav tm="100000">
                                          <p:val>
                                            <p:strVal val="#ppt_x"/>
                                          </p:val>
                                        </p:tav>
                                      </p:tavLst>
                                    </p:anim>
                                    <p:anim calcmode="lin" valueType="num">
                                      <p:cBhvr additive="base">
                                        <p:cTn id="24" dur="500" fill="hold"/>
                                        <p:tgtEl>
                                          <p:spTgt spid="25"/>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additive="base">
                                        <p:cTn id="27" dur="500" fill="hold"/>
                                        <p:tgtEl>
                                          <p:spTgt spid="35"/>
                                        </p:tgtEl>
                                        <p:attrNameLst>
                                          <p:attrName>ppt_x</p:attrName>
                                        </p:attrNameLst>
                                      </p:cBhvr>
                                      <p:tavLst>
                                        <p:tav tm="0">
                                          <p:val>
                                            <p:strVal val="#ppt_x"/>
                                          </p:val>
                                        </p:tav>
                                        <p:tav tm="100000">
                                          <p:val>
                                            <p:strVal val="#ppt_x"/>
                                          </p:val>
                                        </p:tav>
                                      </p:tavLst>
                                    </p:anim>
                                    <p:anim calcmode="lin" valueType="num">
                                      <p:cBhvr additive="base">
                                        <p:cTn id="28" dur="500" fill="hold"/>
                                        <p:tgtEl>
                                          <p:spTgt spid="3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anim calcmode="lin" valueType="num">
                                      <p:cBhvr additive="base">
                                        <p:cTn id="31" dur="500" fill="hold"/>
                                        <p:tgtEl>
                                          <p:spTgt spid="36"/>
                                        </p:tgtEl>
                                        <p:attrNameLst>
                                          <p:attrName>ppt_x</p:attrName>
                                        </p:attrNameLst>
                                      </p:cBhvr>
                                      <p:tavLst>
                                        <p:tav tm="0">
                                          <p:val>
                                            <p:strVal val="#ppt_x"/>
                                          </p:val>
                                        </p:tav>
                                        <p:tav tm="100000">
                                          <p:val>
                                            <p:strVal val="#ppt_x"/>
                                          </p:val>
                                        </p:tav>
                                      </p:tavLst>
                                    </p:anim>
                                    <p:anim calcmode="lin" valueType="num">
                                      <p:cBhvr additive="base">
                                        <p:cTn id="32" dur="500" fill="hold"/>
                                        <p:tgtEl>
                                          <p:spTgt spid="36"/>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anim calcmode="lin" valueType="num">
                                      <p:cBhvr additive="base">
                                        <p:cTn id="35" dur="500" fill="hold"/>
                                        <p:tgtEl>
                                          <p:spTgt spid="43"/>
                                        </p:tgtEl>
                                        <p:attrNameLst>
                                          <p:attrName>ppt_x</p:attrName>
                                        </p:attrNameLst>
                                      </p:cBhvr>
                                      <p:tavLst>
                                        <p:tav tm="0">
                                          <p:val>
                                            <p:strVal val="#ppt_x"/>
                                          </p:val>
                                        </p:tav>
                                        <p:tav tm="100000">
                                          <p:val>
                                            <p:strVal val="#ppt_x"/>
                                          </p:val>
                                        </p:tav>
                                      </p:tavLst>
                                    </p:anim>
                                    <p:anim calcmode="lin" valueType="num">
                                      <p:cBhvr additive="base">
                                        <p:cTn id="36" dur="500" fill="hold"/>
                                        <p:tgtEl>
                                          <p:spTgt spid="43"/>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500" fill="hold"/>
                                        <p:tgtEl>
                                          <p:spTgt spid="42"/>
                                        </p:tgtEl>
                                        <p:attrNameLst>
                                          <p:attrName>ppt_x</p:attrName>
                                        </p:attrNameLst>
                                      </p:cBhvr>
                                      <p:tavLst>
                                        <p:tav tm="0">
                                          <p:val>
                                            <p:strVal val="#ppt_x"/>
                                          </p:val>
                                        </p:tav>
                                        <p:tav tm="100000">
                                          <p:val>
                                            <p:strVal val="#ppt_x"/>
                                          </p:val>
                                        </p:tav>
                                      </p:tavLst>
                                    </p:anim>
                                    <p:anim calcmode="lin" valueType="num">
                                      <p:cBhvr additive="base">
                                        <p:cTn id="40" dur="5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 calcmode="lin" valueType="num">
                                      <p:cBhvr additive="base">
                                        <p:cTn id="43" dur="500" fill="hold"/>
                                        <p:tgtEl>
                                          <p:spTgt spid="16"/>
                                        </p:tgtEl>
                                        <p:attrNameLst>
                                          <p:attrName>ppt_x</p:attrName>
                                        </p:attrNameLst>
                                      </p:cBhvr>
                                      <p:tavLst>
                                        <p:tav tm="0">
                                          <p:val>
                                            <p:strVal val="#ppt_x"/>
                                          </p:val>
                                        </p:tav>
                                        <p:tav tm="100000">
                                          <p:val>
                                            <p:strVal val="#ppt_x"/>
                                          </p:val>
                                        </p:tav>
                                      </p:tavLst>
                                    </p:anim>
                                    <p:anim calcmode="lin" valueType="num">
                                      <p:cBhvr additive="base">
                                        <p:cTn id="4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 calcmode="lin" valueType="num">
                                      <p:cBhvr additive="base">
                                        <p:cTn id="53" dur="500" fill="hold"/>
                                        <p:tgtEl>
                                          <p:spTgt spid="27"/>
                                        </p:tgtEl>
                                        <p:attrNameLst>
                                          <p:attrName>ppt_x</p:attrName>
                                        </p:attrNameLst>
                                      </p:cBhvr>
                                      <p:tavLst>
                                        <p:tav tm="0">
                                          <p:val>
                                            <p:strVal val="#ppt_x"/>
                                          </p:val>
                                        </p:tav>
                                        <p:tav tm="100000">
                                          <p:val>
                                            <p:strVal val="#ppt_x"/>
                                          </p:val>
                                        </p:tav>
                                      </p:tavLst>
                                    </p:anim>
                                    <p:anim calcmode="lin" valueType="num">
                                      <p:cBhvr additive="base">
                                        <p:cTn id="54" dur="500" fill="hold"/>
                                        <p:tgtEl>
                                          <p:spTgt spid="2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ppt_x"/>
                                          </p:val>
                                        </p:tav>
                                        <p:tav tm="100000">
                                          <p:val>
                                            <p:strVal val="#ppt_x"/>
                                          </p:val>
                                        </p:tav>
                                      </p:tavLst>
                                    </p:anim>
                                    <p:anim calcmode="lin" valueType="num">
                                      <p:cBhvr additive="base">
                                        <p:cTn id="58" dur="500" fill="hold"/>
                                        <p:tgtEl>
                                          <p:spTgt spid="26"/>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28"/>
                                        </p:tgtEl>
                                        <p:attrNameLst>
                                          <p:attrName>style.visibility</p:attrName>
                                        </p:attrNameLst>
                                      </p:cBhvr>
                                      <p:to>
                                        <p:strVal val="visible"/>
                                      </p:to>
                                    </p:set>
                                    <p:anim calcmode="lin" valueType="num">
                                      <p:cBhvr additive="base">
                                        <p:cTn id="61" dur="500" fill="hold"/>
                                        <p:tgtEl>
                                          <p:spTgt spid="28"/>
                                        </p:tgtEl>
                                        <p:attrNameLst>
                                          <p:attrName>ppt_x</p:attrName>
                                        </p:attrNameLst>
                                      </p:cBhvr>
                                      <p:tavLst>
                                        <p:tav tm="0">
                                          <p:val>
                                            <p:strVal val="#ppt_x"/>
                                          </p:val>
                                        </p:tav>
                                        <p:tav tm="100000">
                                          <p:val>
                                            <p:strVal val="#ppt_x"/>
                                          </p:val>
                                        </p:tav>
                                      </p:tavLst>
                                    </p:anim>
                                    <p:anim calcmode="lin" valueType="num">
                                      <p:cBhvr additive="base">
                                        <p:cTn id="62" dur="500" fill="hold"/>
                                        <p:tgtEl>
                                          <p:spTgt spid="28"/>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9"/>
                                        </p:tgtEl>
                                        <p:attrNameLst>
                                          <p:attrName>style.visibility</p:attrName>
                                        </p:attrNameLst>
                                      </p:cBhvr>
                                      <p:to>
                                        <p:strVal val="visible"/>
                                      </p:to>
                                    </p:set>
                                    <p:anim calcmode="lin" valueType="num">
                                      <p:cBhvr additive="base">
                                        <p:cTn id="65" dur="500" fill="hold"/>
                                        <p:tgtEl>
                                          <p:spTgt spid="29"/>
                                        </p:tgtEl>
                                        <p:attrNameLst>
                                          <p:attrName>ppt_x</p:attrName>
                                        </p:attrNameLst>
                                      </p:cBhvr>
                                      <p:tavLst>
                                        <p:tav tm="0">
                                          <p:val>
                                            <p:strVal val="#ppt_x"/>
                                          </p:val>
                                        </p:tav>
                                        <p:tav tm="100000">
                                          <p:val>
                                            <p:strVal val="#ppt_x"/>
                                          </p:val>
                                        </p:tav>
                                      </p:tavLst>
                                    </p:anim>
                                    <p:anim calcmode="lin" valueType="num">
                                      <p:cBhvr additive="base">
                                        <p:cTn id="66" dur="500" fill="hold"/>
                                        <p:tgtEl>
                                          <p:spTgt spid="29"/>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32"/>
                                        </p:tgtEl>
                                        <p:attrNameLst>
                                          <p:attrName>style.visibility</p:attrName>
                                        </p:attrNameLst>
                                      </p:cBhvr>
                                      <p:to>
                                        <p:strVal val="visible"/>
                                      </p:to>
                                    </p:set>
                                    <p:anim calcmode="lin" valueType="num">
                                      <p:cBhvr additive="base">
                                        <p:cTn id="69" dur="500" fill="hold"/>
                                        <p:tgtEl>
                                          <p:spTgt spid="32"/>
                                        </p:tgtEl>
                                        <p:attrNameLst>
                                          <p:attrName>ppt_x</p:attrName>
                                        </p:attrNameLst>
                                      </p:cBhvr>
                                      <p:tavLst>
                                        <p:tav tm="0">
                                          <p:val>
                                            <p:strVal val="#ppt_x"/>
                                          </p:val>
                                        </p:tav>
                                        <p:tav tm="100000">
                                          <p:val>
                                            <p:strVal val="#ppt_x"/>
                                          </p:val>
                                        </p:tav>
                                      </p:tavLst>
                                    </p:anim>
                                    <p:anim calcmode="lin" valueType="num">
                                      <p:cBhvr additive="base">
                                        <p:cTn id="70" dur="500" fill="hold"/>
                                        <p:tgtEl>
                                          <p:spTgt spid="32"/>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0"/>
                                        </p:tgtEl>
                                        <p:attrNameLst>
                                          <p:attrName>style.visibility</p:attrName>
                                        </p:attrNameLst>
                                      </p:cBhvr>
                                      <p:to>
                                        <p:strVal val="visible"/>
                                      </p:to>
                                    </p:set>
                                    <p:anim calcmode="lin" valueType="num">
                                      <p:cBhvr additive="base">
                                        <p:cTn id="73" dur="500" fill="hold"/>
                                        <p:tgtEl>
                                          <p:spTgt spid="30"/>
                                        </p:tgtEl>
                                        <p:attrNameLst>
                                          <p:attrName>ppt_x</p:attrName>
                                        </p:attrNameLst>
                                      </p:cBhvr>
                                      <p:tavLst>
                                        <p:tav tm="0">
                                          <p:val>
                                            <p:strVal val="#ppt_x"/>
                                          </p:val>
                                        </p:tav>
                                        <p:tav tm="100000">
                                          <p:val>
                                            <p:strVal val="#ppt_x"/>
                                          </p:val>
                                        </p:tav>
                                      </p:tavLst>
                                    </p:anim>
                                    <p:anim calcmode="lin" valueType="num">
                                      <p:cBhvr additive="base">
                                        <p:cTn id="74" dur="500" fill="hold"/>
                                        <p:tgtEl>
                                          <p:spTgt spid="30"/>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17"/>
                                        </p:tgtEl>
                                        <p:attrNameLst>
                                          <p:attrName>style.visibility</p:attrName>
                                        </p:attrNameLst>
                                      </p:cBhvr>
                                      <p:to>
                                        <p:strVal val="visible"/>
                                      </p:to>
                                    </p:set>
                                    <p:anim calcmode="lin" valueType="num">
                                      <p:cBhvr additive="base">
                                        <p:cTn id="77" dur="500" fill="hold"/>
                                        <p:tgtEl>
                                          <p:spTgt spid="17"/>
                                        </p:tgtEl>
                                        <p:attrNameLst>
                                          <p:attrName>ppt_x</p:attrName>
                                        </p:attrNameLst>
                                      </p:cBhvr>
                                      <p:tavLst>
                                        <p:tav tm="0">
                                          <p:val>
                                            <p:strVal val="#ppt_x"/>
                                          </p:val>
                                        </p:tav>
                                        <p:tav tm="100000">
                                          <p:val>
                                            <p:strVal val="#ppt_x"/>
                                          </p:val>
                                        </p:tav>
                                      </p:tavLst>
                                    </p:anim>
                                    <p:anim calcmode="lin" valueType="num">
                                      <p:cBhvr additive="base">
                                        <p:cTn id="7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nodeType="clickEffect">
                                  <p:stCondLst>
                                    <p:cond delay="0"/>
                                  </p:stCondLst>
                                  <p:childTnLst>
                                    <p:set>
                                      <p:cBhvr>
                                        <p:cTn id="82" dur="1" fill="hold">
                                          <p:stCondLst>
                                            <p:cond delay="0"/>
                                          </p:stCondLst>
                                        </p:cTn>
                                        <p:tgtEl>
                                          <p:spTgt spid="37"/>
                                        </p:tgtEl>
                                        <p:attrNameLst>
                                          <p:attrName>style.visibility</p:attrName>
                                        </p:attrNameLst>
                                      </p:cBhvr>
                                      <p:to>
                                        <p:strVal val="visible"/>
                                      </p:to>
                                    </p:set>
                                    <p:anim calcmode="lin" valueType="num">
                                      <p:cBhvr additive="base">
                                        <p:cTn id="83" dur="500" fill="hold"/>
                                        <p:tgtEl>
                                          <p:spTgt spid="37"/>
                                        </p:tgtEl>
                                        <p:attrNameLst>
                                          <p:attrName>ppt_x</p:attrName>
                                        </p:attrNameLst>
                                      </p:cBhvr>
                                      <p:tavLst>
                                        <p:tav tm="0">
                                          <p:val>
                                            <p:strVal val="#ppt_x"/>
                                          </p:val>
                                        </p:tav>
                                        <p:tav tm="100000">
                                          <p:val>
                                            <p:strVal val="#ppt_x"/>
                                          </p:val>
                                        </p:tav>
                                      </p:tavLst>
                                    </p:anim>
                                    <p:anim calcmode="lin" valueType="num">
                                      <p:cBhvr additive="base">
                                        <p:cTn id="84" dur="500" fill="hold"/>
                                        <p:tgtEl>
                                          <p:spTgt spid="37"/>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45"/>
                                        </p:tgtEl>
                                        <p:attrNameLst>
                                          <p:attrName>style.visibility</p:attrName>
                                        </p:attrNameLst>
                                      </p:cBhvr>
                                      <p:to>
                                        <p:strVal val="visible"/>
                                      </p:to>
                                    </p:set>
                                    <p:anim calcmode="lin" valueType="num">
                                      <p:cBhvr additive="base">
                                        <p:cTn id="87" dur="500" fill="hold"/>
                                        <p:tgtEl>
                                          <p:spTgt spid="45"/>
                                        </p:tgtEl>
                                        <p:attrNameLst>
                                          <p:attrName>ppt_x</p:attrName>
                                        </p:attrNameLst>
                                      </p:cBhvr>
                                      <p:tavLst>
                                        <p:tav tm="0">
                                          <p:val>
                                            <p:strVal val="#ppt_x"/>
                                          </p:val>
                                        </p:tav>
                                        <p:tav tm="100000">
                                          <p:val>
                                            <p:strVal val="#ppt_x"/>
                                          </p:val>
                                        </p:tav>
                                      </p:tavLst>
                                    </p:anim>
                                    <p:anim calcmode="lin" valueType="num">
                                      <p:cBhvr additive="base">
                                        <p:cTn id="88" dur="500" fill="hold"/>
                                        <p:tgtEl>
                                          <p:spTgt spid="45"/>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47"/>
                                        </p:tgtEl>
                                        <p:attrNameLst>
                                          <p:attrName>style.visibility</p:attrName>
                                        </p:attrNameLst>
                                      </p:cBhvr>
                                      <p:to>
                                        <p:strVal val="visible"/>
                                      </p:to>
                                    </p:set>
                                    <p:anim calcmode="lin" valueType="num">
                                      <p:cBhvr additive="base">
                                        <p:cTn id="91" dur="500" fill="hold"/>
                                        <p:tgtEl>
                                          <p:spTgt spid="47"/>
                                        </p:tgtEl>
                                        <p:attrNameLst>
                                          <p:attrName>ppt_x</p:attrName>
                                        </p:attrNameLst>
                                      </p:cBhvr>
                                      <p:tavLst>
                                        <p:tav tm="0">
                                          <p:val>
                                            <p:strVal val="#ppt_x"/>
                                          </p:val>
                                        </p:tav>
                                        <p:tav tm="100000">
                                          <p:val>
                                            <p:strVal val="#ppt_x"/>
                                          </p:val>
                                        </p:tav>
                                      </p:tavLst>
                                    </p:anim>
                                    <p:anim calcmode="lin" valueType="num">
                                      <p:cBhvr additive="base">
                                        <p:cTn id="92" dur="500" fill="hold"/>
                                        <p:tgtEl>
                                          <p:spTgt spid="47"/>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31"/>
                                        </p:tgtEl>
                                        <p:attrNameLst>
                                          <p:attrName>style.visibility</p:attrName>
                                        </p:attrNameLst>
                                      </p:cBhvr>
                                      <p:to>
                                        <p:strVal val="visible"/>
                                      </p:to>
                                    </p:set>
                                    <p:anim calcmode="lin" valueType="num">
                                      <p:cBhvr additive="base">
                                        <p:cTn id="95" dur="500" fill="hold"/>
                                        <p:tgtEl>
                                          <p:spTgt spid="31"/>
                                        </p:tgtEl>
                                        <p:attrNameLst>
                                          <p:attrName>ppt_x</p:attrName>
                                        </p:attrNameLst>
                                      </p:cBhvr>
                                      <p:tavLst>
                                        <p:tav tm="0">
                                          <p:val>
                                            <p:strVal val="#ppt_x"/>
                                          </p:val>
                                        </p:tav>
                                        <p:tav tm="100000">
                                          <p:val>
                                            <p:strVal val="#ppt_x"/>
                                          </p:val>
                                        </p:tav>
                                      </p:tavLst>
                                    </p:anim>
                                    <p:anim calcmode="lin" valueType="num">
                                      <p:cBhvr additive="base">
                                        <p:cTn id="96" dur="500" fill="hold"/>
                                        <p:tgtEl>
                                          <p:spTgt spid="31"/>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46"/>
                                        </p:tgtEl>
                                        <p:attrNameLst>
                                          <p:attrName>style.visibility</p:attrName>
                                        </p:attrNameLst>
                                      </p:cBhvr>
                                      <p:to>
                                        <p:strVal val="visible"/>
                                      </p:to>
                                    </p:set>
                                    <p:anim calcmode="lin" valueType="num">
                                      <p:cBhvr additive="base">
                                        <p:cTn id="99" dur="500" fill="hold"/>
                                        <p:tgtEl>
                                          <p:spTgt spid="46"/>
                                        </p:tgtEl>
                                        <p:attrNameLst>
                                          <p:attrName>ppt_x</p:attrName>
                                        </p:attrNameLst>
                                      </p:cBhvr>
                                      <p:tavLst>
                                        <p:tav tm="0">
                                          <p:val>
                                            <p:strVal val="#ppt_x"/>
                                          </p:val>
                                        </p:tav>
                                        <p:tav tm="100000">
                                          <p:val>
                                            <p:strVal val="#ppt_x"/>
                                          </p:val>
                                        </p:tav>
                                      </p:tavLst>
                                    </p:anim>
                                    <p:anim calcmode="lin" valueType="num">
                                      <p:cBhvr additive="base">
                                        <p:cTn id="100" dur="500" fill="hold"/>
                                        <p:tgtEl>
                                          <p:spTgt spid="4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8"/>
                                        </p:tgtEl>
                                        <p:attrNameLst>
                                          <p:attrName>style.visibility</p:attrName>
                                        </p:attrNameLst>
                                      </p:cBhvr>
                                      <p:to>
                                        <p:strVal val="visible"/>
                                      </p:to>
                                    </p:set>
                                    <p:anim calcmode="lin" valueType="num">
                                      <p:cBhvr additive="base">
                                        <p:cTn id="103" dur="500" fill="hold"/>
                                        <p:tgtEl>
                                          <p:spTgt spid="18"/>
                                        </p:tgtEl>
                                        <p:attrNameLst>
                                          <p:attrName>ppt_x</p:attrName>
                                        </p:attrNameLst>
                                      </p:cBhvr>
                                      <p:tavLst>
                                        <p:tav tm="0">
                                          <p:val>
                                            <p:strVal val="#ppt_x"/>
                                          </p:val>
                                        </p:tav>
                                        <p:tav tm="100000">
                                          <p:val>
                                            <p:strVal val="#ppt_x"/>
                                          </p:val>
                                        </p:tav>
                                      </p:tavLst>
                                    </p:anim>
                                    <p:anim calcmode="lin" valueType="num">
                                      <p:cBhvr additive="base">
                                        <p:cTn id="10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42" grpId="0" animBg="1"/>
      <p:bldP spid="43" grpId="0" animBg="1"/>
      <p:bldP spid="45" grpId="0" animBg="1"/>
      <p:bldP spid="46" grpId="0" animBg="1"/>
      <p:bldP spid="4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dirty="0"/>
              <a:t>Understand Power Platform ALM</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0170628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Get Power Platform Build Tool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10880725"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2000" dirty="0"/>
              <a:t>Power Platform Build Tools can be installed into your Azure DevOps organization from Azure Marketplace</a:t>
            </a:r>
          </a:p>
          <a:p>
            <a:pPr marL="0" indent="0">
              <a:spcBef>
                <a:spcPts val="600"/>
              </a:spcBef>
              <a:spcAft>
                <a:spcPts val="600"/>
              </a:spcAft>
              <a:buNone/>
            </a:pPr>
            <a:r>
              <a:rPr lang="en-US" sz="2000" dirty="0">
                <a:cs typeface="Segoe UI"/>
              </a:rPr>
              <a:t>After installation, all tasks included will be available to add into any new or existing pipeline. You can find them by searching for "Power Platform."</a:t>
            </a:r>
            <a:endParaRPr lang="en-US" sz="1800" dirty="0"/>
          </a:p>
        </p:txBody>
      </p:sp>
      <p:pic>
        <p:nvPicPr>
          <p:cNvPr id="6" name="Picture 5">
            <a:extLst>
              <a:ext uri="{FF2B5EF4-FFF2-40B4-BE49-F238E27FC236}">
                <a16:creationId xmlns:a16="http://schemas.microsoft.com/office/drawing/2014/main" id="{F7E9B4F8-9D97-4BD0-A778-6FB1C2F4FA06}"/>
              </a:ext>
            </a:extLst>
          </p:cNvPr>
          <p:cNvPicPr>
            <a:picLocks noChangeAspect="1"/>
          </p:cNvPicPr>
          <p:nvPr/>
        </p:nvPicPr>
        <p:blipFill>
          <a:blip r:embed="rId5"/>
          <a:stretch>
            <a:fillRect/>
          </a:stretch>
        </p:blipFill>
        <p:spPr>
          <a:xfrm>
            <a:off x="2371711" y="2743200"/>
            <a:ext cx="7448575" cy="396083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1505777196"/>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nnection to Power Platform environment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6287423" cy="371076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2000" dirty="0"/>
              <a:t>To interact with the Power Platform environment, a connection must be established that enables the various build tool tasks to perform the required actions. </a:t>
            </a:r>
          </a:p>
          <a:p>
            <a:pPr marL="0" indent="0">
              <a:spcBef>
                <a:spcPts val="600"/>
              </a:spcBef>
              <a:spcAft>
                <a:spcPts val="600"/>
              </a:spcAft>
              <a:buNone/>
            </a:pPr>
            <a:r>
              <a:rPr lang="en-US" sz="2000" dirty="0"/>
              <a:t>Two types of connections are available:</a:t>
            </a:r>
          </a:p>
          <a:p>
            <a:pPr marL="310515" indent="-310515">
              <a:spcBef>
                <a:spcPts val="600"/>
              </a:spcBef>
              <a:spcAft>
                <a:spcPts val="600"/>
              </a:spcAft>
            </a:pPr>
            <a:r>
              <a:rPr lang="en-US" sz="1800" b="1" dirty="0">
                <a:cs typeface="Segoe UI"/>
              </a:rPr>
              <a:t>Username/password</a:t>
            </a:r>
            <a:r>
              <a:rPr lang="en-US" sz="1800" dirty="0">
                <a:cs typeface="Segoe UI"/>
              </a:rPr>
              <a:t>: Configured as a generic service connection with username and password. Note that username/password does not support multi-factor authentication.</a:t>
            </a:r>
            <a:endParaRPr lang="en-US" sz="1800" dirty="0"/>
          </a:p>
          <a:p>
            <a:pPr marL="310515" indent="-310515">
              <a:spcBef>
                <a:spcPts val="600"/>
              </a:spcBef>
              <a:spcAft>
                <a:spcPts val="600"/>
              </a:spcAft>
            </a:pPr>
            <a:r>
              <a:rPr lang="en-US" sz="1800" b="1" dirty="0">
                <a:cs typeface="Segoe UI"/>
              </a:rPr>
              <a:t>Service principal and client secret</a:t>
            </a:r>
            <a:r>
              <a:rPr lang="en-US" sz="1800" dirty="0">
                <a:cs typeface="Segoe UI"/>
              </a:rPr>
              <a:t>: (recommended) This connection type uses service principal-based authentication and supports multi-factor authentication.</a:t>
            </a:r>
            <a:endParaRPr lang="en-US" sz="2200" dirty="0"/>
          </a:p>
        </p:txBody>
      </p:sp>
      <p:pic>
        <p:nvPicPr>
          <p:cNvPr id="4" name="Picture 3">
            <a:extLst>
              <a:ext uri="{FF2B5EF4-FFF2-40B4-BE49-F238E27FC236}">
                <a16:creationId xmlns:a16="http://schemas.microsoft.com/office/drawing/2014/main" id="{C8182765-C32F-4BEA-8A75-76EF48708FF0}"/>
              </a:ext>
            </a:extLst>
          </p:cNvPr>
          <p:cNvPicPr>
            <a:picLocks noChangeAspect="1"/>
          </p:cNvPicPr>
          <p:nvPr/>
        </p:nvPicPr>
        <p:blipFill>
          <a:blip r:embed="rId5"/>
          <a:stretch>
            <a:fillRect/>
          </a:stretch>
        </p:blipFill>
        <p:spPr>
          <a:xfrm>
            <a:off x="7432159" y="1073888"/>
            <a:ext cx="4759842" cy="4387888"/>
          </a:xfrm>
          <a:prstGeom prst="rect">
            <a:avLst/>
          </a:prstGeom>
        </p:spPr>
      </p:pic>
      <p:sp>
        <p:nvSpPr>
          <p:cNvPr id="7" name="TextBox 6">
            <a:extLst>
              <a:ext uri="{FF2B5EF4-FFF2-40B4-BE49-F238E27FC236}">
                <a16:creationId xmlns:a16="http://schemas.microsoft.com/office/drawing/2014/main" id="{5A7E2D0E-F129-4BAF-A1A1-7D5BD15B61D1}"/>
              </a:ext>
            </a:extLst>
          </p:cNvPr>
          <p:cNvSpPr txBox="1"/>
          <p:nvPr/>
        </p:nvSpPr>
        <p:spPr>
          <a:xfrm>
            <a:off x="539602" y="5537829"/>
            <a:ext cx="11652398" cy="923330"/>
          </a:xfrm>
          <a:prstGeom prst="rect">
            <a:avLst/>
          </a:prstGeom>
          <a:noFill/>
        </p:spPr>
        <p:txBody>
          <a:bodyPr wrap="square">
            <a:spAutoFit/>
          </a:bodyPr>
          <a:lstStyle/>
          <a:p>
            <a:pPr marL="0" indent="0">
              <a:spcBef>
                <a:spcPts val="600"/>
              </a:spcBef>
              <a:spcAft>
                <a:spcPts val="600"/>
              </a:spcAft>
              <a:buNone/>
            </a:pPr>
            <a:r>
              <a:rPr lang="en-US" sz="1800" dirty="0"/>
              <a:t>To configure a connection using service principal, you </a:t>
            </a:r>
            <a:r>
              <a:rPr lang="en-US" sz="1800" u="sng" dirty="0"/>
              <a:t>must first create an application registration in Azure Active Directory (AAD)</a:t>
            </a:r>
            <a:r>
              <a:rPr lang="en-US" sz="1800" dirty="0"/>
              <a:t> with the required permissions and then create the associated </a:t>
            </a:r>
            <a:r>
              <a:rPr lang="en-US" sz="1800" u="sng" dirty="0"/>
              <a:t>Application User </a:t>
            </a:r>
            <a:r>
              <a:rPr lang="en-US" sz="1800" dirty="0"/>
              <a:t>in the Microsoft Power Platform environment you want to connect to</a:t>
            </a:r>
          </a:p>
        </p:txBody>
      </p:sp>
      <p:sp>
        <p:nvSpPr>
          <p:cNvPr id="2" name="Footer Placeholder 2">
            <a:extLst>
              <a:ext uri="{FF2B5EF4-FFF2-40B4-BE49-F238E27FC236}">
                <a16:creationId xmlns:a16="http://schemas.microsoft.com/office/drawing/2014/main" id="{0820F4AC-FF83-7A45-7F49-72C12CC9686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08979296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Azure Pipeline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6946642" cy="371076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2000" dirty="0"/>
              <a:t>Azure Pipelines automatically builds and tests code projects to make them available to others.</a:t>
            </a:r>
          </a:p>
          <a:p>
            <a:pPr marL="0" indent="0">
              <a:spcBef>
                <a:spcPts val="600"/>
              </a:spcBef>
              <a:spcAft>
                <a:spcPts val="600"/>
              </a:spcAft>
              <a:buNone/>
            </a:pPr>
            <a:r>
              <a:rPr lang="en-US" sz="2000" dirty="0">
                <a:cs typeface="Segoe UI"/>
              </a:rPr>
              <a:t>Works with just about any language or project type </a:t>
            </a:r>
            <a:endParaRPr lang="en-US" sz="2000" dirty="0"/>
          </a:p>
          <a:p>
            <a:pPr marL="0" indent="0">
              <a:spcBef>
                <a:spcPts val="600"/>
              </a:spcBef>
              <a:buNone/>
            </a:pPr>
            <a:r>
              <a:rPr lang="en-US" sz="2000" dirty="0"/>
              <a:t>Combines Continuous Integration (</a:t>
            </a:r>
            <a:r>
              <a:rPr lang="en-US" sz="2000" b="1" dirty="0"/>
              <a:t>CI</a:t>
            </a:r>
            <a:r>
              <a:rPr lang="en-US" sz="2000" dirty="0"/>
              <a:t>) and Continuous Delivery (</a:t>
            </a:r>
            <a:r>
              <a:rPr lang="en-US" sz="2000" b="1" dirty="0"/>
              <a:t>CD</a:t>
            </a:r>
            <a:r>
              <a:rPr lang="en-US" sz="2000" dirty="0"/>
              <a:t>) to test and build your code and ship it to any target</a:t>
            </a:r>
          </a:p>
          <a:p>
            <a:pPr marL="621665" lvl="1" indent="-310515">
              <a:spcBef>
                <a:spcPts val="600"/>
              </a:spcBef>
            </a:pPr>
            <a:r>
              <a:rPr lang="en-US" sz="1800" b="1" dirty="0"/>
              <a:t>CI</a:t>
            </a:r>
            <a:r>
              <a:rPr lang="en-US" sz="1800" dirty="0"/>
              <a:t> is the practice used by development teams of automating merging and testing code</a:t>
            </a:r>
            <a:endParaRPr lang="en-US" sz="1800" dirty="0">
              <a:cs typeface="Segoe UI"/>
            </a:endParaRPr>
          </a:p>
          <a:p>
            <a:pPr marL="621665" lvl="1" indent="-310515">
              <a:spcBef>
                <a:spcPts val="600"/>
              </a:spcBef>
            </a:pPr>
            <a:r>
              <a:rPr lang="en-US" sz="1800" b="1" dirty="0"/>
              <a:t>CD</a:t>
            </a:r>
            <a:r>
              <a:rPr lang="en-US" sz="1800" dirty="0"/>
              <a:t> is a process by which code is built, tested, and deployed to one or more test and production environments</a:t>
            </a:r>
            <a:endParaRPr lang="en-US" sz="1800" dirty="0">
              <a:cs typeface="Segoe UI"/>
            </a:endParaRPr>
          </a:p>
          <a:p>
            <a:pPr marL="0" indent="0">
              <a:spcBef>
                <a:spcPts val="1200"/>
              </a:spcBef>
              <a:buNone/>
            </a:pPr>
            <a:r>
              <a:rPr lang="en-US" sz="2000" dirty="0">
                <a:cs typeface="Segoe UI"/>
              </a:rPr>
              <a:t>The starting point for configuring CI and CD for your applications is to have your </a:t>
            </a:r>
            <a:r>
              <a:rPr lang="en-US" sz="2000" u="sng" dirty="0">
                <a:cs typeface="Segoe UI"/>
              </a:rPr>
              <a:t>source code in a version control system.</a:t>
            </a:r>
            <a:endParaRPr lang="en-US" sz="2000" dirty="0"/>
          </a:p>
        </p:txBody>
      </p:sp>
      <p:pic>
        <p:nvPicPr>
          <p:cNvPr id="5" name="Picture 4">
            <a:extLst>
              <a:ext uri="{FF2B5EF4-FFF2-40B4-BE49-F238E27FC236}">
                <a16:creationId xmlns:a16="http://schemas.microsoft.com/office/drawing/2014/main" id="{0B659B18-E01A-41DE-A99F-D88E70565429}"/>
              </a:ext>
            </a:extLst>
          </p:cNvPr>
          <p:cNvPicPr>
            <a:picLocks noChangeAspect="1"/>
          </p:cNvPicPr>
          <p:nvPr/>
        </p:nvPicPr>
        <p:blipFill>
          <a:blip r:embed="rId5"/>
          <a:stretch>
            <a:fillRect/>
          </a:stretch>
        </p:blipFill>
        <p:spPr>
          <a:xfrm>
            <a:off x="7918557" y="1073888"/>
            <a:ext cx="4273443" cy="4901610"/>
          </a:xfrm>
          <a:prstGeom prst="rect">
            <a:avLst/>
          </a:prstGeom>
        </p:spPr>
      </p:pic>
      <p:sp>
        <p:nvSpPr>
          <p:cNvPr id="2" name="Footer Placeholder 2">
            <a:extLst>
              <a:ext uri="{FF2B5EF4-FFF2-40B4-BE49-F238E27FC236}">
                <a16:creationId xmlns:a16="http://schemas.microsoft.com/office/drawing/2014/main" id="{422ABED0-49FF-CDC6-A4C5-55F72F00096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068991563"/>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Azure Repo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7" y="1073888"/>
            <a:ext cx="6298056" cy="3710763"/>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2200" dirty="0">
                <a:cs typeface="Segoe UI"/>
              </a:rPr>
              <a:t>Azure Repos is a set of </a:t>
            </a:r>
            <a:r>
              <a:rPr lang="en-US" sz="2200" u="sng" dirty="0">
                <a:cs typeface="Segoe UI"/>
              </a:rPr>
              <a:t>version control tools </a:t>
            </a:r>
            <a:r>
              <a:rPr lang="en-US" sz="2200" dirty="0">
                <a:cs typeface="Segoe UI"/>
              </a:rPr>
              <a:t>that you can use to manage your code.</a:t>
            </a:r>
            <a:endParaRPr lang="en-US" sz="2200" dirty="0"/>
          </a:p>
          <a:p>
            <a:pPr marL="0" indent="0">
              <a:spcBef>
                <a:spcPts val="600"/>
              </a:spcBef>
              <a:spcAft>
                <a:spcPts val="600"/>
              </a:spcAft>
              <a:buNone/>
            </a:pPr>
            <a:r>
              <a:rPr lang="en-US" sz="2200" dirty="0">
                <a:cs typeface="Segoe UI"/>
              </a:rPr>
              <a:t>Version control systems are software that help you track changes you make in your code over time.</a:t>
            </a:r>
            <a:endParaRPr lang="en-US" sz="2200" dirty="0"/>
          </a:p>
          <a:p>
            <a:pPr marL="0" indent="0">
              <a:spcBef>
                <a:spcPts val="600"/>
              </a:spcBef>
              <a:spcAft>
                <a:spcPts val="600"/>
              </a:spcAft>
              <a:buNone/>
            </a:pPr>
            <a:r>
              <a:rPr lang="en-US" sz="2200" dirty="0"/>
              <a:t>Provides two types of version control:</a:t>
            </a:r>
          </a:p>
          <a:p>
            <a:pPr marL="310515" indent="-310515">
              <a:spcBef>
                <a:spcPts val="600"/>
              </a:spcBef>
              <a:spcAft>
                <a:spcPts val="600"/>
              </a:spcAft>
            </a:pPr>
            <a:r>
              <a:rPr lang="en-US" sz="2000" b="1" dirty="0"/>
              <a:t>Git</a:t>
            </a:r>
            <a:r>
              <a:rPr lang="en-US" sz="2000" dirty="0"/>
              <a:t>: distributed version control</a:t>
            </a:r>
          </a:p>
          <a:p>
            <a:pPr marL="310515" indent="-310515">
              <a:spcBef>
                <a:spcPts val="600"/>
              </a:spcBef>
              <a:spcAft>
                <a:spcPts val="600"/>
              </a:spcAft>
            </a:pPr>
            <a:r>
              <a:rPr lang="en-US" sz="2000" b="1" dirty="0"/>
              <a:t>Team Foundation Version Control (TFVC)</a:t>
            </a:r>
            <a:r>
              <a:rPr lang="en-US" sz="2000" dirty="0"/>
              <a:t>: centralized version control (</a:t>
            </a:r>
            <a:r>
              <a:rPr lang="en-US" sz="2000" u="sng" dirty="0"/>
              <a:t>should not be used for new projects</a:t>
            </a:r>
            <a:r>
              <a:rPr lang="en-US" sz="2000" dirty="0"/>
              <a:t>)</a:t>
            </a:r>
          </a:p>
        </p:txBody>
      </p:sp>
      <p:pic>
        <p:nvPicPr>
          <p:cNvPr id="4" name="Picture 3">
            <a:extLst>
              <a:ext uri="{FF2B5EF4-FFF2-40B4-BE49-F238E27FC236}">
                <a16:creationId xmlns:a16="http://schemas.microsoft.com/office/drawing/2014/main" id="{8E019E0B-10C9-48EF-ACE3-BFC1A03EB3A5}"/>
              </a:ext>
            </a:extLst>
          </p:cNvPr>
          <p:cNvPicPr>
            <a:picLocks noChangeAspect="1"/>
          </p:cNvPicPr>
          <p:nvPr/>
        </p:nvPicPr>
        <p:blipFill>
          <a:blip r:embed="rId5"/>
          <a:stretch>
            <a:fillRect/>
          </a:stretch>
        </p:blipFill>
        <p:spPr>
          <a:xfrm>
            <a:off x="7194817" y="1073888"/>
            <a:ext cx="4997183" cy="4518838"/>
          </a:xfrm>
          <a:prstGeom prst="rect">
            <a:avLst/>
          </a:prstGeom>
        </p:spPr>
      </p:pic>
      <p:sp>
        <p:nvSpPr>
          <p:cNvPr id="2" name="Footer Placeholder 2">
            <a:extLst>
              <a:ext uri="{FF2B5EF4-FFF2-40B4-BE49-F238E27FC236}">
                <a16:creationId xmlns:a16="http://schemas.microsoft.com/office/drawing/2014/main" id="{975E8FAF-8E51-20D7-B5D4-7FE9E2738FD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753455634"/>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9996714" cy="830997"/>
          </a:xfrm>
        </p:spPr>
        <p:txBody>
          <a:bodyPr/>
          <a:lstStyle/>
          <a:p>
            <a:pPr>
              <a:lnSpc>
                <a:spcPct val="100000"/>
              </a:lnSpc>
            </a:pPr>
            <a:r>
              <a:rPr lang="en-US" sz="5400" dirty="0"/>
              <a:t>Power Platform + GitHub</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93882675"/>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GitHub Action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5" y="1073888"/>
            <a:ext cx="5440365"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600"/>
              </a:spcAft>
            </a:pPr>
            <a:r>
              <a:rPr lang="en-US" sz="2200" dirty="0"/>
              <a:t>Help you automate tasks within your software development life cycle</a:t>
            </a:r>
            <a:endParaRPr lang="en-US" dirty="0"/>
          </a:p>
          <a:p>
            <a:pPr marL="310515" indent="-310515">
              <a:spcBef>
                <a:spcPts val="600"/>
              </a:spcBef>
              <a:spcAft>
                <a:spcPts val="600"/>
              </a:spcAft>
            </a:pPr>
            <a:r>
              <a:rPr lang="en-US" sz="2200" dirty="0">
                <a:cs typeface="Segoe UI"/>
              </a:rPr>
              <a:t>Event-driven meaning that you can run a series of commands after a specified event has occurred</a:t>
            </a:r>
          </a:p>
          <a:p>
            <a:pPr marL="310515" indent="-310515">
              <a:spcBef>
                <a:spcPts val="600"/>
              </a:spcBef>
              <a:spcAft>
                <a:spcPts val="600"/>
              </a:spcAft>
            </a:pPr>
            <a:r>
              <a:rPr lang="en-US" sz="2200" dirty="0"/>
              <a:t>Actions are defined in workflow definition file (.</a:t>
            </a:r>
            <a:r>
              <a:rPr lang="en-US" sz="2200" dirty="0" err="1"/>
              <a:t>yml</a:t>
            </a:r>
            <a:r>
              <a:rPr lang="en-US" sz="2200" dirty="0"/>
              <a:t>)</a:t>
            </a:r>
          </a:p>
        </p:txBody>
      </p:sp>
      <p:pic>
        <p:nvPicPr>
          <p:cNvPr id="14" name="Picture 13">
            <a:extLst>
              <a:ext uri="{FF2B5EF4-FFF2-40B4-BE49-F238E27FC236}">
                <a16:creationId xmlns:a16="http://schemas.microsoft.com/office/drawing/2014/main" id="{7D6FB8B1-5965-4B09-B9E5-807AE5BF3990}"/>
              </a:ext>
            </a:extLst>
          </p:cNvPr>
          <p:cNvPicPr>
            <a:picLocks noChangeAspect="1"/>
          </p:cNvPicPr>
          <p:nvPr/>
        </p:nvPicPr>
        <p:blipFill>
          <a:blip r:embed="rId5"/>
          <a:stretch>
            <a:fillRect/>
          </a:stretch>
        </p:blipFill>
        <p:spPr>
          <a:xfrm>
            <a:off x="6411172" y="1073888"/>
            <a:ext cx="5780828" cy="4572000"/>
          </a:xfrm>
          <a:prstGeom prst="rect">
            <a:avLst/>
          </a:prstGeom>
        </p:spPr>
      </p:pic>
      <p:sp>
        <p:nvSpPr>
          <p:cNvPr id="2" name="Footer Placeholder 2">
            <a:extLst>
              <a:ext uri="{FF2B5EF4-FFF2-40B4-BE49-F238E27FC236}">
                <a16:creationId xmlns:a16="http://schemas.microsoft.com/office/drawing/2014/main" id="{1A70BC0E-CDC5-A087-AFD6-0FE25DF4C7CE}"/>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5593063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anim calcmode="lin" valueType="num">
                                      <p:cBhvr additive="base">
                                        <p:cTn id="13"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 calcmode="lin" valueType="num">
                                      <p:cBhvr additive="base">
                                        <p:cTn id="19"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Platform + GitHub Action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5" y="1073888"/>
            <a:ext cx="6921958"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600"/>
              </a:spcAft>
            </a:pPr>
            <a:r>
              <a:rPr lang="en-US" sz="2200" dirty="0"/>
              <a:t>Enable developers to build automated software development lifecycle workflows for Power Platform solutions</a:t>
            </a:r>
            <a:endParaRPr lang="en-US"/>
          </a:p>
          <a:p>
            <a:pPr marL="310515" indent="-310515">
              <a:spcBef>
                <a:spcPts val="600"/>
              </a:spcBef>
              <a:spcAft>
                <a:spcPts val="600"/>
              </a:spcAft>
            </a:pPr>
            <a:r>
              <a:rPr lang="en-US" sz="2200" dirty="0"/>
              <a:t>Are supported only for environments with a database</a:t>
            </a:r>
            <a:endParaRPr lang="en-US" sz="2200" u="sng" dirty="0"/>
          </a:p>
          <a:p>
            <a:pPr marL="310515" indent="-310515">
              <a:spcBef>
                <a:spcPts val="600"/>
              </a:spcBef>
              <a:spcAft>
                <a:spcPts val="600"/>
              </a:spcAft>
            </a:pPr>
            <a:r>
              <a:rPr lang="en-US" sz="2200" dirty="0"/>
              <a:t>Similar tools available as in Azure DevOps Build Tools</a:t>
            </a:r>
          </a:p>
          <a:p>
            <a:pPr marL="310515" indent="-310515">
              <a:spcBef>
                <a:spcPts val="600"/>
              </a:spcBef>
              <a:spcAft>
                <a:spcPts val="600"/>
              </a:spcAft>
            </a:pPr>
            <a:r>
              <a:rPr lang="en-US" sz="2200" dirty="0"/>
              <a:t>You can create workflows in your repository to build, test, package, release, and deploy apps; perform automation; and manage bots and other components built on Microsoft Power Platform</a:t>
            </a:r>
          </a:p>
          <a:p>
            <a:pPr marL="310515" indent="-310515">
              <a:spcBef>
                <a:spcPts val="600"/>
              </a:spcBef>
              <a:spcAft>
                <a:spcPts val="600"/>
              </a:spcAft>
            </a:pPr>
            <a:r>
              <a:rPr lang="en-US" sz="2200" dirty="0"/>
              <a:t>GitHub Actions for Microsoft Power Platform can run on both Microsoft Windows agents and Linux agents</a:t>
            </a:r>
          </a:p>
        </p:txBody>
      </p:sp>
      <p:sp>
        <p:nvSpPr>
          <p:cNvPr id="7" name="TextBox 6">
            <a:extLst>
              <a:ext uri="{FF2B5EF4-FFF2-40B4-BE49-F238E27FC236}">
                <a16:creationId xmlns:a16="http://schemas.microsoft.com/office/drawing/2014/main" id="{3D8C505E-0CA6-4A88-8649-340B65619F79}"/>
              </a:ext>
            </a:extLst>
          </p:cNvPr>
          <p:cNvSpPr txBox="1"/>
          <p:nvPr/>
        </p:nvSpPr>
        <p:spPr>
          <a:xfrm>
            <a:off x="561636" y="5784112"/>
            <a:ext cx="6714460" cy="369332"/>
          </a:xfrm>
          <a:prstGeom prst="rect">
            <a:avLst/>
          </a:prstGeom>
          <a:noFill/>
        </p:spPr>
        <p:txBody>
          <a:bodyPr wrap="square">
            <a:spAutoFit/>
          </a:bodyPr>
          <a:lstStyle/>
          <a:p>
            <a:r>
              <a:rPr lang="LID4096" dirty="0">
                <a:hlinkClick r:id="rId5"/>
              </a:rPr>
              <a:t>https://github.com/marketplace/actions/powerplatform-actions</a:t>
            </a:r>
            <a:r>
              <a:rPr lang="fi-FI" dirty="0"/>
              <a:t> </a:t>
            </a:r>
            <a:endParaRPr lang="LID4096" dirty="0"/>
          </a:p>
        </p:txBody>
      </p:sp>
      <p:pic>
        <p:nvPicPr>
          <p:cNvPr id="10" name="Picture 9">
            <a:extLst>
              <a:ext uri="{FF2B5EF4-FFF2-40B4-BE49-F238E27FC236}">
                <a16:creationId xmlns:a16="http://schemas.microsoft.com/office/drawing/2014/main" id="{3FBF2B6E-E24A-4E08-A982-FBBF82CE868A}"/>
              </a:ext>
            </a:extLst>
          </p:cNvPr>
          <p:cNvPicPr>
            <a:picLocks noChangeAspect="1"/>
          </p:cNvPicPr>
          <p:nvPr/>
        </p:nvPicPr>
        <p:blipFill>
          <a:blip r:embed="rId6"/>
          <a:stretch>
            <a:fillRect/>
          </a:stretch>
        </p:blipFill>
        <p:spPr>
          <a:xfrm>
            <a:off x="7804128" y="1073889"/>
            <a:ext cx="4493300" cy="3498111"/>
          </a:xfrm>
          <a:prstGeom prst="rect">
            <a:avLst/>
          </a:prstGeom>
        </p:spPr>
      </p:pic>
      <p:sp>
        <p:nvSpPr>
          <p:cNvPr id="2" name="Footer Placeholder 2">
            <a:extLst>
              <a:ext uri="{FF2B5EF4-FFF2-40B4-BE49-F238E27FC236}">
                <a16:creationId xmlns:a16="http://schemas.microsoft.com/office/drawing/2014/main" id="{44040567-DF8B-C37F-3C92-D5E72D7CDCE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74921833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 calcmode="lin" valueType="num">
                                      <p:cBhvr additive="base">
                                        <p:cTn id="7"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 calcmode="lin" valueType="num">
                                      <p:cBhvr additive="base">
                                        <p:cTn id="13"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anim calcmode="lin" valueType="num">
                                      <p:cBhvr additive="base">
                                        <p:cTn id="25"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mponents of GitHub Action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5" y="1073888"/>
            <a:ext cx="8424570"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1200"/>
              </a:spcAft>
              <a:buNone/>
            </a:pPr>
            <a:r>
              <a:rPr lang="en-US" b="1" dirty="0"/>
              <a:t>Workflows</a:t>
            </a:r>
            <a:r>
              <a:rPr lang="en-US" dirty="0"/>
              <a:t> - Automated procedure which can be used to build, test, package, release, or deploy a project on GitHub. Made up of one or more jobs and can be scheduled or triggered by an event</a:t>
            </a:r>
          </a:p>
          <a:p>
            <a:pPr marL="0" indent="0">
              <a:spcBef>
                <a:spcPts val="600"/>
              </a:spcBef>
              <a:spcAft>
                <a:spcPts val="1200"/>
              </a:spcAft>
              <a:buNone/>
            </a:pPr>
            <a:r>
              <a:rPr lang="en-US" b="1" dirty="0">
                <a:cs typeface="Segoe UI"/>
              </a:rPr>
              <a:t>Events </a:t>
            </a:r>
            <a:r>
              <a:rPr lang="en-US" dirty="0">
                <a:cs typeface="Segoe UI"/>
              </a:rPr>
              <a:t>- Is a specific activity that triggers a workflow. For example, when someone pushes a commit to a repository or when an issue or pull request is created</a:t>
            </a:r>
            <a:endParaRPr lang="en-US" dirty="0"/>
          </a:p>
          <a:p>
            <a:pPr marL="0" indent="0">
              <a:spcBef>
                <a:spcPts val="600"/>
              </a:spcBef>
              <a:spcAft>
                <a:spcPts val="1200"/>
              </a:spcAft>
              <a:buNone/>
            </a:pPr>
            <a:r>
              <a:rPr lang="en-US" b="1" dirty="0">
                <a:cs typeface="Segoe UI"/>
              </a:rPr>
              <a:t>Jobs</a:t>
            </a:r>
            <a:r>
              <a:rPr lang="en-US" dirty="0">
                <a:cs typeface="Segoe UI"/>
              </a:rPr>
              <a:t> - Set of steps that execute on the same </a:t>
            </a:r>
            <a:r>
              <a:rPr lang="en-US" u="sng" dirty="0">
                <a:cs typeface="Segoe UI"/>
              </a:rPr>
              <a:t>runner</a:t>
            </a:r>
            <a:r>
              <a:rPr lang="en-US" dirty="0">
                <a:cs typeface="Segoe UI"/>
              </a:rPr>
              <a:t>. By default, multiple jobs run in parallel but can also configure to run jobs sequentially. For example, a workflow can have two sequential jobs that build and test code where the test job is dependent on the status of the build job.</a:t>
            </a:r>
          </a:p>
          <a:p>
            <a:pPr marL="310515" indent="-310515">
              <a:spcBef>
                <a:spcPts val="600"/>
              </a:spcBef>
              <a:spcAft>
                <a:spcPts val="1200"/>
              </a:spcAft>
            </a:pPr>
            <a:endParaRPr lang="en-US" dirty="0"/>
          </a:p>
          <a:p>
            <a:pPr marL="0" indent="0">
              <a:spcBef>
                <a:spcPts val="600"/>
              </a:spcBef>
              <a:spcAft>
                <a:spcPts val="600"/>
              </a:spcAft>
              <a:buNone/>
            </a:pPr>
            <a:endParaRPr lang="en-US" sz="2000" dirty="0"/>
          </a:p>
        </p:txBody>
      </p:sp>
      <p:pic>
        <p:nvPicPr>
          <p:cNvPr id="5" name="Picture 4">
            <a:extLst>
              <a:ext uri="{FF2B5EF4-FFF2-40B4-BE49-F238E27FC236}">
                <a16:creationId xmlns:a16="http://schemas.microsoft.com/office/drawing/2014/main" id="{1EC217D9-E6A9-43A2-9821-5B936C195A6E}"/>
              </a:ext>
            </a:extLst>
          </p:cNvPr>
          <p:cNvPicPr>
            <a:picLocks noChangeAspect="1"/>
          </p:cNvPicPr>
          <p:nvPr/>
        </p:nvPicPr>
        <p:blipFill>
          <a:blip r:embed="rId5"/>
          <a:stretch>
            <a:fillRect/>
          </a:stretch>
        </p:blipFill>
        <p:spPr>
          <a:xfrm>
            <a:off x="9206111" y="888348"/>
            <a:ext cx="2985889" cy="2795300"/>
          </a:xfrm>
          <a:prstGeom prst="rect">
            <a:avLst/>
          </a:prstGeom>
        </p:spPr>
      </p:pic>
      <p:pic>
        <p:nvPicPr>
          <p:cNvPr id="7" name="Picture 6">
            <a:extLst>
              <a:ext uri="{FF2B5EF4-FFF2-40B4-BE49-F238E27FC236}">
                <a16:creationId xmlns:a16="http://schemas.microsoft.com/office/drawing/2014/main" id="{028EA4E8-6F46-4A2F-979D-A94648D787F7}"/>
              </a:ext>
            </a:extLst>
          </p:cNvPr>
          <p:cNvPicPr>
            <a:picLocks noChangeAspect="1"/>
          </p:cNvPicPr>
          <p:nvPr/>
        </p:nvPicPr>
        <p:blipFill>
          <a:blip r:embed="rId6"/>
          <a:stretch>
            <a:fillRect/>
          </a:stretch>
        </p:blipFill>
        <p:spPr>
          <a:xfrm>
            <a:off x="9588150" y="3950208"/>
            <a:ext cx="2603850" cy="2274942"/>
          </a:xfrm>
          <a:prstGeom prst="rect">
            <a:avLst/>
          </a:prstGeom>
        </p:spPr>
      </p:pic>
      <p:sp>
        <p:nvSpPr>
          <p:cNvPr id="2" name="Footer Placeholder 2">
            <a:extLst>
              <a:ext uri="{FF2B5EF4-FFF2-40B4-BE49-F238E27FC236}">
                <a16:creationId xmlns:a16="http://schemas.microsoft.com/office/drawing/2014/main" id="{69F2B0C5-B547-B33B-0799-570C62DBA8D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6636009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 calcmode="lin" valueType="num">
                                      <p:cBhvr additive="base">
                                        <p:cTn id="7"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 calcmode="lin" valueType="num">
                                      <p:cBhvr additive="base">
                                        <p:cTn id="13"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mponents of GitHub Action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5" y="1073888"/>
            <a:ext cx="8424570"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1200"/>
              </a:spcAft>
              <a:buNone/>
            </a:pPr>
            <a:r>
              <a:rPr lang="en-US" b="1" dirty="0">
                <a:cs typeface="Segoe UI"/>
              </a:rPr>
              <a:t>Steps</a:t>
            </a:r>
            <a:r>
              <a:rPr lang="en-US" dirty="0">
                <a:cs typeface="Segoe UI"/>
              </a:rPr>
              <a:t> - An individual task that can run commands in a job. A step can be either an action or a shell command.</a:t>
            </a:r>
            <a:endParaRPr lang="en-US" dirty="0"/>
          </a:p>
          <a:p>
            <a:pPr marL="0" indent="0">
              <a:spcBef>
                <a:spcPts val="600"/>
              </a:spcBef>
              <a:spcAft>
                <a:spcPts val="1200"/>
              </a:spcAft>
              <a:buNone/>
            </a:pPr>
            <a:r>
              <a:rPr lang="en-US" b="1" dirty="0">
                <a:cs typeface="Segoe UI"/>
              </a:rPr>
              <a:t>Actions</a:t>
            </a:r>
            <a:r>
              <a:rPr lang="en-US" dirty="0">
                <a:cs typeface="Segoe UI"/>
              </a:rPr>
              <a:t> - Standalone commands that are combined into steps to create a job. Actions are the smallest portable building block of a workflow. You can create your own actions or use actions created by the GitHub community.</a:t>
            </a:r>
          </a:p>
          <a:p>
            <a:pPr marL="0" indent="0">
              <a:spcBef>
                <a:spcPts val="600"/>
              </a:spcBef>
              <a:spcAft>
                <a:spcPts val="1200"/>
              </a:spcAft>
              <a:buNone/>
            </a:pPr>
            <a:r>
              <a:rPr lang="en-US" b="1" dirty="0">
                <a:cs typeface="Segoe UI"/>
              </a:rPr>
              <a:t>Runners</a:t>
            </a:r>
            <a:r>
              <a:rPr lang="en-US" dirty="0">
                <a:cs typeface="Segoe UI"/>
              </a:rPr>
              <a:t> - Is a server that has the GitHub Actions runner application installed. You can use a runner hosted by GitHub, or you can host your own. A runner listens for available jobs, runs one job at a time, and reports the progress, logs, and results back to GitHub.</a:t>
            </a:r>
            <a:endParaRPr lang="en-US"/>
          </a:p>
          <a:p>
            <a:pPr marL="310515" indent="-310515">
              <a:spcBef>
                <a:spcPts val="600"/>
              </a:spcBef>
              <a:spcAft>
                <a:spcPts val="600"/>
              </a:spcAft>
            </a:pPr>
            <a:endParaRPr lang="en-US" dirty="0"/>
          </a:p>
          <a:p>
            <a:pPr marL="310515" indent="-310515">
              <a:spcBef>
                <a:spcPts val="600"/>
              </a:spcBef>
              <a:spcAft>
                <a:spcPts val="600"/>
              </a:spcAft>
            </a:pPr>
            <a:endParaRPr lang="en-US" sz="2800" dirty="0"/>
          </a:p>
          <a:p>
            <a:pPr marL="0" indent="0">
              <a:spcBef>
                <a:spcPts val="600"/>
              </a:spcBef>
              <a:spcAft>
                <a:spcPts val="600"/>
              </a:spcAft>
              <a:buNone/>
            </a:pPr>
            <a:endParaRPr lang="en-US" sz="2000" dirty="0"/>
          </a:p>
        </p:txBody>
      </p:sp>
      <p:pic>
        <p:nvPicPr>
          <p:cNvPr id="5" name="Picture 4">
            <a:extLst>
              <a:ext uri="{FF2B5EF4-FFF2-40B4-BE49-F238E27FC236}">
                <a16:creationId xmlns:a16="http://schemas.microsoft.com/office/drawing/2014/main" id="{1EC217D9-E6A9-43A2-9821-5B936C195A6E}"/>
              </a:ext>
            </a:extLst>
          </p:cNvPr>
          <p:cNvPicPr>
            <a:picLocks noChangeAspect="1"/>
          </p:cNvPicPr>
          <p:nvPr/>
        </p:nvPicPr>
        <p:blipFill>
          <a:blip r:embed="rId5"/>
          <a:stretch>
            <a:fillRect/>
          </a:stretch>
        </p:blipFill>
        <p:spPr>
          <a:xfrm>
            <a:off x="9206111" y="888348"/>
            <a:ext cx="2985889" cy="2795300"/>
          </a:xfrm>
          <a:prstGeom prst="rect">
            <a:avLst/>
          </a:prstGeom>
        </p:spPr>
      </p:pic>
      <p:pic>
        <p:nvPicPr>
          <p:cNvPr id="7" name="Picture 6">
            <a:extLst>
              <a:ext uri="{FF2B5EF4-FFF2-40B4-BE49-F238E27FC236}">
                <a16:creationId xmlns:a16="http://schemas.microsoft.com/office/drawing/2014/main" id="{028EA4E8-6F46-4A2F-979D-A94648D787F7}"/>
              </a:ext>
            </a:extLst>
          </p:cNvPr>
          <p:cNvPicPr>
            <a:picLocks noChangeAspect="1"/>
          </p:cNvPicPr>
          <p:nvPr/>
        </p:nvPicPr>
        <p:blipFill>
          <a:blip r:embed="rId6"/>
          <a:stretch>
            <a:fillRect/>
          </a:stretch>
        </p:blipFill>
        <p:spPr>
          <a:xfrm>
            <a:off x="9588150" y="3950208"/>
            <a:ext cx="2603850" cy="2274942"/>
          </a:xfrm>
          <a:prstGeom prst="rect">
            <a:avLst/>
          </a:prstGeom>
        </p:spPr>
      </p:pic>
      <p:sp>
        <p:nvSpPr>
          <p:cNvPr id="2" name="Footer Placeholder 2">
            <a:extLst>
              <a:ext uri="{FF2B5EF4-FFF2-40B4-BE49-F238E27FC236}">
                <a16:creationId xmlns:a16="http://schemas.microsoft.com/office/drawing/2014/main" id="{5F41BB06-D2AB-205B-AA18-B583891E4F0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6929281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anim calcmode="lin" valueType="num">
                                      <p:cBhvr additive="base">
                                        <p:cTn id="13"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 calcmode="lin" valueType="num">
                                      <p:cBhvr additive="base">
                                        <p:cTn id="19"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nnection to Power Platform environments</a:t>
            </a:r>
          </a:p>
        </p:txBody>
      </p:sp>
      <p:sp>
        <p:nvSpPr>
          <p:cNvPr id="9" name="Text Placeholder 1">
            <a:extLst>
              <a:ext uri="{FF2B5EF4-FFF2-40B4-BE49-F238E27FC236}">
                <a16:creationId xmlns:a16="http://schemas.microsoft.com/office/drawing/2014/main" id="{6C1E1E07-1B82-4103-9DE9-6A87FA94B4CF}"/>
              </a:ext>
            </a:extLst>
          </p:cNvPr>
          <p:cNvSpPr>
            <a:spLocks noGrp="1"/>
          </p:cNvSpPr>
          <p:nvPr>
            <p:ph sz="quarter" idx="13"/>
            <p:custDataLst>
              <p:tags r:id="rId2"/>
            </p:custDataLst>
          </p:nvPr>
        </p:nvSpPr>
        <p:spPr>
          <a:xfrm>
            <a:off x="655636" y="1073888"/>
            <a:ext cx="6212997" cy="5219521"/>
          </a:xfrm>
        </p:spPr>
        <p:txBody>
          <a:bodyPr vert="horz" lIns="0" tIns="0" rIns="0" bIns="0" rtlCol="0" anchor="t">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600"/>
              </a:spcBef>
              <a:spcAft>
                <a:spcPts val="600"/>
              </a:spcAft>
              <a:buNone/>
            </a:pPr>
            <a:r>
              <a:rPr lang="en-US" sz="2200" dirty="0"/>
              <a:t>Similar as in Azure DevOps Build Tools you have two options to connect Power Platform environments:</a:t>
            </a:r>
          </a:p>
          <a:p>
            <a:pPr marL="310515" indent="-310515">
              <a:spcBef>
                <a:spcPts val="600"/>
              </a:spcBef>
              <a:spcAft>
                <a:spcPts val="600"/>
              </a:spcAft>
            </a:pPr>
            <a:r>
              <a:rPr lang="en-US" sz="2000" b="1" dirty="0"/>
              <a:t>Username/password</a:t>
            </a:r>
            <a:r>
              <a:rPr lang="en-US" sz="2000" dirty="0"/>
              <a:t>: Configured as a generic service connection with username and password. Note that username/password does not support multi-factor authentication</a:t>
            </a:r>
          </a:p>
          <a:p>
            <a:pPr marL="310515" indent="-310515">
              <a:spcBef>
                <a:spcPts val="600"/>
              </a:spcBef>
              <a:spcAft>
                <a:spcPts val="600"/>
              </a:spcAft>
            </a:pPr>
            <a:r>
              <a:rPr lang="en-US" sz="2000" b="1" dirty="0">
                <a:cs typeface="Segoe UI"/>
              </a:rPr>
              <a:t>Service principal and client secret</a:t>
            </a:r>
            <a:r>
              <a:rPr lang="en-US" sz="2000" dirty="0">
                <a:cs typeface="Segoe UI"/>
              </a:rPr>
              <a:t>: (recommended) This connection type uses service principal based authentication and supports multi-factor authentication.</a:t>
            </a:r>
            <a:endParaRPr lang="en-US" sz="2800" dirty="0"/>
          </a:p>
          <a:p>
            <a:pPr marL="0" indent="0">
              <a:spcBef>
                <a:spcPts val="600"/>
              </a:spcBef>
              <a:spcAft>
                <a:spcPts val="600"/>
              </a:spcAft>
              <a:buNone/>
            </a:pPr>
            <a:endParaRPr lang="en-US" sz="2000" dirty="0"/>
          </a:p>
        </p:txBody>
      </p:sp>
      <p:pic>
        <p:nvPicPr>
          <p:cNvPr id="4" name="Picture 3">
            <a:extLst>
              <a:ext uri="{FF2B5EF4-FFF2-40B4-BE49-F238E27FC236}">
                <a16:creationId xmlns:a16="http://schemas.microsoft.com/office/drawing/2014/main" id="{ACF4985E-D9FD-4609-A5B1-2091468E2CF6}"/>
              </a:ext>
            </a:extLst>
          </p:cNvPr>
          <p:cNvPicPr>
            <a:picLocks noChangeAspect="1"/>
          </p:cNvPicPr>
          <p:nvPr/>
        </p:nvPicPr>
        <p:blipFill>
          <a:blip r:embed="rId5"/>
          <a:stretch>
            <a:fillRect/>
          </a:stretch>
        </p:blipFill>
        <p:spPr>
          <a:xfrm>
            <a:off x="7263492" y="1073888"/>
            <a:ext cx="4726489" cy="4385997"/>
          </a:xfrm>
          <a:prstGeom prst="rect">
            <a:avLst/>
          </a:prstGeom>
          <a:ln>
            <a:noFill/>
          </a:ln>
          <a:effectLst>
            <a:outerShdw blurRad="292100" dist="139700" dir="2700000" algn="tl" rotWithShape="0">
              <a:srgbClr val="333333">
                <a:alpha val="65000"/>
              </a:srgbClr>
            </a:outerShdw>
          </a:effectLst>
        </p:spPr>
      </p:pic>
      <p:sp>
        <p:nvSpPr>
          <p:cNvPr id="2" name="Footer Placeholder 2">
            <a:extLst>
              <a:ext uri="{FF2B5EF4-FFF2-40B4-BE49-F238E27FC236}">
                <a16:creationId xmlns:a16="http://schemas.microsoft.com/office/drawing/2014/main" id="{496D3836-EEA0-EAFC-687F-A120CAE4984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59775468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What is ALM?</a:t>
            </a:r>
          </a:p>
        </p:txBody>
      </p:sp>
      <p:sp>
        <p:nvSpPr>
          <p:cNvPr id="3" name="Content Placeholder 2"/>
          <p:cNvSpPr>
            <a:spLocks noGrp="1"/>
          </p:cNvSpPr>
          <p:nvPr>
            <p:ph sz="quarter" idx="13"/>
            <p:custDataLst>
              <p:tags r:id="rId2"/>
            </p:custDataLst>
          </p:nvPr>
        </p:nvSpPr>
        <p:spPr>
          <a:xfrm>
            <a:off x="655638" y="1408114"/>
            <a:ext cx="10880726" cy="1857600"/>
          </a:xfrm>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Lifecycle management of applications, which includes governance, development and maintenance</a:t>
            </a:r>
          </a:p>
          <a:p>
            <a:r>
              <a:rPr lang="en-US" dirty="0"/>
              <a:t>Includes topics and tasks like:</a:t>
            </a:r>
          </a:p>
        </p:txBody>
      </p:sp>
      <p:sp>
        <p:nvSpPr>
          <p:cNvPr id="6" name="TextBox 5">
            <a:extLst>
              <a:ext uri="{FF2B5EF4-FFF2-40B4-BE49-F238E27FC236}">
                <a16:creationId xmlns:a16="http://schemas.microsoft.com/office/drawing/2014/main" id="{47ABE339-BE58-4DEE-AA3B-1D0591059B67}"/>
              </a:ext>
            </a:extLst>
          </p:cNvPr>
          <p:cNvSpPr txBox="1"/>
          <p:nvPr/>
        </p:nvSpPr>
        <p:spPr>
          <a:xfrm>
            <a:off x="568619" y="4618098"/>
            <a:ext cx="10967742" cy="1569660"/>
          </a:xfrm>
          <a:prstGeom prst="rect">
            <a:avLst/>
          </a:prstGeom>
          <a:noFill/>
        </p:spPr>
        <p:txBody>
          <a:bodyPr wrap="square" lIns="91440" tIns="45720" rIns="91440" bIns="45720" anchor="t">
            <a:spAutoFit/>
          </a:bodyPr>
          <a:lstStyle/>
          <a:p>
            <a:pPr marL="310515" indent="-310515" defTabSz="932688">
              <a:spcBef>
                <a:spcPts val="672"/>
              </a:spcBef>
              <a:buClr>
                <a:schemeClr val="tx1"/>
              </a:buClr>
              <a:buSzPct val="90000"/>
              <a:buFont typeface="Wingdings" panose="05000000000000000000" pitchFamily="2" charset="2"/>
              <a:buChar char=""/>
            </a:pPr>
            <a:r>
              <a:rPr lang="en-US" sz="2400" dirty="0">
                <a:cs typeface="Segoe UI"/>
              </a:rPr>
              <a:t>ALM tools provide a standardized system for communication and collaboration between software development teams and related departments, such as test and operations. </a:t>
            </a:r>
            <a:r>
              <a:rPr lang="en-US" sz="2400" u="sng" dirty="0">
                <a:cs typeface="Segoe UI"/>
              </a:rPr>
              <a:t>These tools can also automate the process of software development and delivery.</a:t>
            </a:r>
            <a:endParaRPr lang="en-US" dirty="0"/>
          </a:p>
        </p:txBody>
      </p:sp>
      <p:graphicFrame>
        <p:nvGraphicFramePr>
          <p:cNvPr id="5" name="Table 4">
            <a:extLst>
              <a:ext uri="{FF2B5EF4-FFF2-40B4-BE49-F238E27FC236}">
                <a16:creationId xmlns:a16="http://schemas.microsoft.com/office/drawing/2014/main" id="{5C0314D6-E0E2-4694-9301-7CC665637EE9}"/>
              </a:ext>
            </a:extLst>
          </p:cNvPr>
          <p:cNvGraphicFramePr>
            <a:graphicFrameLocks noGrp="1"/>
          </p:cNvGraphicFramePr>
          <p:nvPr>
            <p:extLst>
              <p:ext uri="{D42A27DB-BD31-4B8C-83A1-F6EECF244321}">
                <p14:modId xmlns:p14="http://schemas.microsoft.com/office/powerpoint/2010/main" val="975728432"/>
              </p:ext>
            </p:extLst>
          </p:nvPr>
        </p:nvGraphicFramePr>
        <p:xfrm>
          <a:off x="983556" y="2675208"/>
          <a:ext cx="10601566" cy="1584960"/>
        </p:xfrm>
        <a:graphic>
          <a:graphicData uri="http://schemas.openxmlformats.org/drawingml/2006/table">
            <a:tbl>
              <a:tblPr firstRow="1" bandRow="1">
                <a:tableStyleId>{2D5ABB26-0587-4C30-8999-92F81FD0307C}</a:tableStyleId>
              </a:tblPr>
              <a:tblGrid>
                <a:gridCol w="6224949">
                  <a:extLst>
                    <a:ext uri="{9D8B030D-6E8A-4147-A177-3AD203B41FA5}">
                      <a16:colId xmlns:a16="http://schemas.microsoft.com/office/drawing/2014/main" val="933081193"/>
                    </a:ext>
                  </a:extLst>
                </a:gridCol>
                <a:gridCol w="4376617">
                  <a:extLst>
                    <a:ext uri="{9D8B030D-6E8A-4147-A177-3AD203B41FA5}">
                      <a16:colId xmlns:a16="http://schemas.microsoft.com/office/drawing/2014/main" val="2806037980"/>
                    </a:ext>
                  </a:extLst>
                </a:gridCol>
              </a:tblGrid>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dirty="0">
                          <a:latin typeface="+mn-lt"/>
                        </a:rPr>
                        <a:t>Project, change and requirements management</a:t>
                      </a:r>
                    </a:p>
                  </a:txBody>
                  <a:tcPr>
                    <a:lnB w="12700" cap="flat" cmpd="sng" algn="ctr">
                      <a:solidFill>
                        <a:schemeClr val="tx1"/>
                      </a:solidFill>
                      <a:prstDash val="solid"/>
                      <a:round/>
                      <a:headEnd type="none" w="med" len="med"/>
                      <a:tailEnd type="none" w="med" len="med"/>
                    </a:lnB>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fi-FI" sz="2000" dirty="0">
                          <a:latin typeface="+mn-lt"/>
                        </a:rPr>
                        <a:t>Maintenance</a:t>
                      </a:r>
                      <a:endParaRPr lang="LID4096" sz="2000" dirty="0">
                        <a:latin typeface="+mn-lt"/>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2942856"/>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dirty="0">
                          <a:latin typeface="+mn-lt"/>
                        </a:rPr>
                        <a:t>Software archite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fi-FI" sz="2000" dirty="0">
                          <a:latin typeface="+mn-lt"/>
                        </a:rPr>
                        <a:t>Continuous Integration (CI)</a:t>
                      </a:r>
                      <a:endParaRPr lang="LID4096" sz="200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9402653"/>
                  </a:ext>
                </a:extLst>
              </a:tr>
              <a:tr h="370840">
                <a:tc>
                  <a:txBody>
                    <a:bodyPr/>
                    <a:lstStyle/>
                    <a:p>
                      <a:r>
                        <a:rPr lang="fi-FI" sz="2000" dirty="0">
                          <a:latin typeface="+mn-lt"/>
                        </a:rPr>
                        <a:t>Development</a:t>
                      </a:r>
                      <a:endParaRPr lang="LID4096" sz="200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i-FI" sz="2000" dirty="0">
                          <a:latin typeface="+mn-lt"/>
                        </a:rPr>
                        <a:t>Continuous Deployment (CD)</a:t>
                      </a:r>
                      <a:endParaRPr lang="LID4096" sz="200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1722053"/>
                  </a:ext>
                </a:extLst>
              </a:tr>
              <a:tr h="370840">
                <a:tc>
                  <a:txBody>
                    <a:bodyPr/>
                    <a:lstStyle/>
                    <a:p>
                      <a:r>
                        <a:rPr lang="fi-FI" sz="2000" dirty="0">
                          <a:latin typeface="+mn-lt"/>
                        </a:rPr>
                        <a:t>Testing</a:t>
                      </a:r>
                      <a:endParaRPr lang="LID4096" sz="200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i-FI" sz="2000" dirty="0">
                          <a:latin typeface="+mn-lt"/>
                        </a:rPr>
                        <a:t>Release management</a:t>
                      </a:r>
                      <a:endParaRPr lang="LID4096" sz="2000" dirty="0">
                        <a:latin typeface="+mn-lt"/>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9134429"/>
                  </a:ext>
                </a:extLst>
              </a:tr>
            </a:tbl>
          </a:graphicData>
        </a:graphic>
      </p:graphicFrame>
      <p:sp>
        <p:nvSpPr>
          <p:cNvPr id="4" name="Footer Placeholder 2">
            <a:extLst>
              <a:ext uri="{FF2B5EF4-FFF2-40B4-BE49-F238E27FC236}">
                <a16:creationId xmlns:a16="http://schemas.microsoft.com/office/drawing/2014/main" id="{5B765ED7-60D4-78DD-3EC5-124D4643F5D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9147073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50</a:t>
            </a:fld>
            <a:endParaRPr lang="en-US" noProof="0"/>
          </a:p>
        </p:txBody>
      </p:sp>
    </p:spTree>
    <p:custDataLst>
      <p:tags r:id="rId1"/>
    </p:custDataLst>
    <p:extLst>
      <p:ext uri="{BB962C8B-B14F-4D97-AF65-F5344CB8AC3E}">
        <p14:creationId xmlns:p14="http://schemas.microsoft.com/office/powerpoint/2010/main" val="1731996720"/>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r>
              <a:rPr lang="en-US" dirty="0">
                <a:solidFill>
                  <a:srgbClr val="243A5E"/>
                </a:solidFill>
              </a:rPr>
              <a:t>Lab 1, 2 and 3</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endParaRPr lang="en-US" sz="1600" dirty="0"/>
          </a:p>
          <a:p>
            <a:r>
              <a:rPr lang="en-US" sz="2800" b="1" dirty="0"/>
              <a:t>Lab 1. Deploy Resources Between Environments Using a Package</a:t>
            </a:r>
            <a:br>
              <a:rPr lang="en-US" sz="2800" b="1" dirty="0"/>
            </a:br>
            <a:br>
              <a:rPr lang="en-US" sz="2800" b="1" dirty="0"/>
            </a:br>
            <a:r>
              <a:rPr lang="en-US" sz="2800" b="1" dirty="0"/>
              <a:t>Lab 2. Deploy Resources Between Environments Using a Solution</a:t>
            </a:r>
          </a:p>
          <a:p>
            <a:endParaRPr lang="en-US" sz="2800" b="1" dirty="0"/>
          </a:p>
          <a:p>
            <a:r>
              <a:rPr lang="en-US" sz="2800" b="1" dirty="0"/>
              <a:t>Lab 3. Deploy solution using Power Platform Pipelines</a:t>
            </a: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428807029"/>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Key areas of ALM</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b="1" dirty="0"/>
              <a:t>Governance</a:t>
            </a:r>
            <a:r>
              <a:rPr lang="en-US" dirty="0"/>
              <a:t> includes requirements management, resource management, data security, user access, change tracking, review, audit, deployment control, and rollback.</a:t>
            </a:r>
          </a:p>
          <a:p>
            <a:pPr marL="0" indent="0">
              <a:buNone/>
            </a:pPr>
            <a:endParaRPr lang="en-US" dirty="0"/>
          </a:p>
          <a:p>
            <a:r>
              <a:rPr lang="en-US" b="1" dirty="0"/>
              <a:t>Application development </a:t>
            </a:r>
            <a:r>
              <a:rPr lang="en-US" dirty="0"/>
              <a:t>includes identifying current problems, and planning, design, building, and testing the application. This area includes traditional developer and app maker roles.</a:t>
            </a:r>
          </a:p>
          <a:p>
            <a:pPr marL="0" indent="0">
              <a:buNone/>
            </a:pPr>
            <a:endParaRPr lang="en-US" dirty="0"/>
          </a:p>
          <a:p>
            <a:r>
              <a:rPr lang="en-US" b="1" dirty="0"/>
              <a:t>Maintenance</a:t>
            </a:r>
            <a:r>
              <a:rPr lang="en-US" dirty="0"/>
              <a:t> includes deployment of the app and maintenance of optional and dependent technologies.</a:t>
            </a:r>
          </a:p>
          <a:p>
            <a:endParaRPr lang="en-US" dirty="0"/>
          </a:p>
        </p:txBody>
      </p:sp>
      <p:sp>
        <p:nvSpPr>
          <p:cNvPr id="4" name="Footer Placeholder 2">
            <a:extLst>
              <a:ext uri="{FF2B5EF4-FFF2-40B4-BE49-F238E27FC236}">
                <a16:creationId xmlns:a16="http://schemas.microsoft.com/office/drawing/2014/main" id="{C044BF47-A6FA-89FA-E7EC-D3DDC5DB20F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38543111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fade">
                                      <p:cBhvr>
                                        <p:cTn id="1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9" y="320040"/>
            <a:ext cx="5668322" cy="461665"/>
          </a:xfrm>
        </p:spPr>
        <p:txBody>
          <a:bodyPr/>
          <a:lstStyle/>
          <a:p>
            <a:r>
              <a:rPr lang="en-US" noProof="1">
                <a:solidFill>
                  <a:srgbClr val="243A5E"/>
                </a:solidFill>
              </a:rPr>
              <a:t>Cyclical development process</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5253384" cy="4819650"/>
          </a:xfrm>
        </p:spPr>
        <p:txBody>
          <a:bodyPr anchor="ct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3200" dirty="0">
                <a:cs typeface="Segoe UI"/>
              </a:rPr>
              <a:t>The application lifecycle is the cyclical software development process that involves these areas.</a:t>
            </a:r>
            <a:endParaRPr lang="en-US" sz="3200" dirty="0"/>
          </a:p>
          <a:p>
            <a:pPr marL="310515" indent="-310515"/>
            <a:endParaRPr lang="en-US" dirty="0"/>
          </a:p>
        </p:txBody>
      </p:sp>
      <p:pic>
        <p:nvPicPr>
          <p:cNvPr id="5" name="Picture 4">
            <a:extLst>
              <a:ext uri="{FF2B5EF4-FFF2-40B4-BE49-F238E27FC236}">
                <a16:creationId xmlns:a16="http://schemas.microsoft.com/office/drawing/2014/main" id="{E17712C7-71B5-4306-AA56-0317CE11BC8C}"/>
              </a:ext>
            </a:extLst>
          </p:cNvPr>
          <p:cNvPicPr>
            <a:picLocks noChangeAspect="1"/>
          </p:cNvPicPr>
          <p:nvPr/>
        </p:nvPicPr>
        <p:blipFill>
          <a:blip r:embed="rId5"/>
          <a:stretch>
            <a:fillRect/>
          </a:stretch>
        </p:blipFill>
        <p:spPr>
          <a:xfrm>
            <a:off x="6045069" y="550872"/>
            <a:ext cx="6074399" cy="5987088"/>
          </a:xfrm>
          <a:prstGeom prst="rect">
            <a:avLst/>
          </a:prstGeom>
        </p:spPr>
      </p:pic>
      <p:sp>
        <p:nvSpPr>
          <p:cNvPr id="4" name="Footer Placeholder 2">
            <a:extLst>
              <a:ext uri="{FF2B5EF4-FFF2-40B4-BE49-F238E27FC236}">
                <a16:creationId xmlns:a16="http://schemas.microsoft.com/office/drawing/2014/main" id="{46DF79AC-9CFE-6C67-1929-C834C289D66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1990758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heel(1)">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ALM for Power Platform</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180407"/>
            <a:ext cx="10880726" cy="5047357"/>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spcBef>
                <a:spcPts val="0"/>
              </a:spcBef>
              <a:spcAft>
                <a:spcPts val="1200"/>
              </a:spcAft>
              <a:buNone/>
            </a:pPr>
            <a:r>
              <a:rPr lang="en-US" b="1" dirty="0"/>
              <a:t>Dataverse</a:t>
            </a:r>
            <a:r>
              <a:rPr lang="en-US" dirty="0"/>
              <a:t> lets you securely store and manage data that's used by business applications. </a:t>
            </a:r>
          </a:p>
          <a:p>
            <a:pPr marL="0" indent="0">
              <a:spcBef>
                <a:spcPts val="0"/>
              </a:spcBef>
              <a:spcAft>
                <a:spcPts val="1200"/>
              </a:spcAft>
              <a:buNone/>
            </a:pPr>
            <a:r>
              <a:rPr lang="en-US" dirty="0"/>
              <a:t>To use the features and tools available for ALM, </a:t>
            </a:r>
            <a:r>
              <a:rPr lang="en-US" u="sng" dirty="0"/>
              <a:t>all environments that participate in ALM must include a Dataverse database</a:t>
            </a:r>
            <a:r>
              <a:rPr lang="en-US" dirty="0"/>
              <a:t>.</a:t>
            </a:r>
          </a:p>
          <a:p>
            <a:pPr marL="0" indent="0">
              <a:spcBef>
                <a:spcPts val="0"/>
              </a:spcBef>
              <a:spcAft>
                <a:spcPts val="1200"/>
              </a:spcAft>
              <a:buNone/>
            </a:pPr>
            <a:r>
              <a:rPr lang="en-US" dirty="0">
                <a:cs typeface="Segoe UI"/>
              </a:rPr>
              <a:t>The following concepts are important for understanding ALM using the Microsoft Power Platform:</a:t>
            </a:r>
            <a:endParaRPr lang="en-US" dirty="0"/>
          </a:p>
          <a:p>
            <a:pPr marL="621665" lvl="1" indent="-310515"/>
            <a:r>
              <a:rPr lang="en-US" b="1" dirty="0"/>
              <a:t>Solutions</a:t>
            </a:r>
            <a:r>
              <a:rPr lang="en-US" dirty="0"/>
              <a:t> are the mechanism for implementing ALM which you use to distribute components across environments through export and import. </a:t>
            </a:r>
            <a:endParaRPr lang="en-US" dirty="0">
              <a:cs typeface="Segoe UI"/>
            </a:endParaRPr>
          </a:p>
          <a:p>
            <a:pPr marL="621665" lvl="1" indent="-310515"/>
            <a:r>
              <a:rPr lang="en-US" b="1" dirty="0"/>
              <a:t>Dataverse</a:t>
            </a:r>
            <a:r>
              <a:rPr lang="en-US" dirty="0"/>
              <a:t> stores all the artifacts, including solutions.</a:t>
            </a:r>
            <a:endParaRPr lang="en-US" dirty="0">
              <a:cs typeface="Segoe UI"/>
            </a:endParaRPr>
          </a:p>
          <a:p>
            <a:pPr marL="621665" lvl="1" indent="-310515"/>
            <a:r>
              <a:rPr lang="en-US" b="1" dirty="0"/>
              <a:t>Components</a:t>
            </a:r>
            <a:r>
              <a:rPr lang="en-US" dirty="0"/>
              <a:t> (inside solutions) such as apps, flows, tables, site maps etc. represents something that you can potentially customize</a:t>
            </a:r>
            <a:endParaRPr lang="en-US" dirty="0">
              <a:cs typeface="Segoe UI"/>
            </a:endParaRPr>
          </a:p>
          <a:p>
            <a:pPr marL="621665" lvl="1" indent="-310515"/>
            <a:r>
              <a:rPr lang="en-US" b="1" dirty="0"/>
              <a:t>Source control </a:t>
            </a:r>
            <a:r>
              <a:rPr lang="en-US" dirty="0"/>
              <a:t>should be your source of truth for storing and collaborating on your components.</a:t>
            </a:r>
            <a:endParaRPr lang="en-US" dirty="0">
              <a:cs typeface="Segoe UI"/>
            </a:endParaRPr>
          </a:p>
          <a:p>
            <a:pPr marL="310515" indent="-310515"/>
            <a:endParaRPr lang="en-US" dirty="0"/>
          </a:p>
        </p:txBody>
      </p:sp>
      <p:sp>
        <p:nvSpPr>
          <p:cNvPr id="4" name="Footer Placeholder 2">
            <a:extLst>
              <a:ext uri="{FF2B5EF4-FFF2-40B4-BE49-F238E27FC236}">
                <a16:creationId xmlns:a16="http://schemas.microsoft.com/office/drawing/2014/main" id="{3032D345-FF03-F6EF-5597-57BDDB4854C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6821293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500"/>
                                        <p:tgtEl>
                                          <p:spTgt spid="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6" end="6"/>
                                            </p:txEl>
                                          </p:spTgt>
                                        </p:tgtEl>
                                        <p:attrNameLst>
                                          <p:attrName>style.visibility</p:attrName>
                                        </p:attrNameLst>
                                      </p:cBhvr>
                                      <p:to>
                                        <p:strVal val="visible"/>
                                      </p:to>
                                    </p:set>
                                    <p:animEffect transition="in" filter="fade">
                                      <p:cBhvr>
                                        <p:cTn id="32"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Types of environments used in ALM</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p:txBody>
          <a:bodyPr vert="horz" lIns="0" tIns="0" rIns="0" bIns="0" rtlCol="0" anchor="t">
            <a:normAutofit fontScale="92500"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600"/>
              </a:spcBef>
              <a:spcAft>
                <a:spcPts val="1200"/>
              </a:spcAft>
            </a:pPr>
            <a:r>
              <a:rPr lang="en-US" sz="2800" b="1" dirty="0"/>
              <a:t>Sandbox</a:t>
            </a:r>
            <a:r>
              <a:rPr lang="en-US" sz="2800" dirty="0"/>
              <a:t> environment is any non-production environment of Dataverse and is the place where you can safely develop and test application changes with low risk. Sandbox environments include capabilities that would be harmful in a production environment, such as reset, delete, and copy operations. </a:t>
            </a:r>
            <a:endParaRPr lang="en-US" dirty="0"/>
          </a:p>
          <a:p>
            <a:pPr marL="310515" indent="-310515">
              <a:spcBef>
                <a:spcPts val="600"/>
              </a:spcBef>
              <a:spcAft>
                <a:spcPts val="1200"/>
              </a:spcAft>
            </a:pPr>
            <a:r>
              <a:rPr lang="en-US" sz="2800" b="1" dirty="0"/>
              <a:t>Production</a:t>
            </a:r>
            <a:r>
              <a:rPr lang="en-US" sz="2800" dirty="0"/>
              <a:t> is environment where apps and other software are put into operation for their intended use.</a:t>
            </a:r>
          </a:p>
          <a:p>
            <a:pPr marL="310515" indent="-310515">
              <a:spcBef>
                <a:spcPts val="600"/>
              </a:spcBef>
              <a:spcAft>
                <a:spcPts val="1200"/>
              </a:spcAft>
            </a:pPr>
            <a:r>
              <a:rPr lang="en-US" sz="2800" b="1" dirty="0">
                <a:cs typeface="Segoe UI"/>
              </a:rPr>
              <a:t>Development</a:t>
            </a:r>
            <a:r>
              <a:rPr lang="en-US" sz="2800" dirty="0">
                <a:cs typeface="Segoe UI"/>
              </a:rPr>
              <a:t> (Developer Plan) a single-user environment primarily meant for learning purposes giving access to premium functionality of Power Apps, Power Automate, and </a:t>
            </a:r>
            <a:r>
              <a:rPr lang="en-US" sz="2800" dirty="0" err="1">
                <a:cs typeface="Segoe UI"/>
              </a:rPr>
              <a:t>Dataverse</a:t>
            </a:r>
            <a:r>
              <a:rPr lang="en-US" sz="2800" dirty="0">
                <a:cs typeface="Segoe UI"/>
              </a:rPr>
              <a:t>. Although you can't share assets from this environment, you can participate in the Azure DevOps pipeline. </a:t>
            </a:r>
            <a:endParaRPr lang="en-US" sz="2800" dirty="0"/>
          </a:p>
        </p:txBody>
      </p:sp>
      <p:sp>
        <p:nvSpPr>
          <p:cNvPr id="4" name="Footer Placeholder 2">
            <a:extLst>
              <a:ext uri="{FF2B5EF4-FFF2-40B4-BE49-F238E27FC236}">
                <a16:creationId xmlns:a16="http://schemas.microsoft.com/office/drawing/2014/main" id="{190A43E0-2165-D9AE-E28D-7D01261B5A7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2223067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9.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4.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82.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1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3.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09E3EAE-66CA-4A91-A5FE-A34A70B099ED}">
  <ds:schemaRefs>
    <ds:schemaRef ds:uri="Strauss.PersonalizationDefinition"/>
  </ds:schemaRefs>
</ds:datastoreItem>
</file>

<file path=customXml/itemProps10.xml><?xml version="1.0" encoding="utf-8"?>
<ds:datastoreItem xmlns:ds="http://schemas.openxmlformats.org/officeDocument/2006/customXml" ds:itemID="{6552B3D2-5F72-49FB-8B35-AFE12BF36804}">
  <ds:schemaRefs>
    <ds:schemaRef ds:uri="Strauss.PersonalizationDefinition"/>
  </ds:schemaRefs>
</ds:datastoreItem>
</file>

<file path=customXml/itemProps11.xml><?xml version="1.0" encoding="utf-8"?>
<ds:datastoreItem xmlns:ds="http://schemas.openxmlformats.org/officeDocument/2006/customXml" ds:itemID="{82C716E8-B770-4139-99B0-F35B9C64B90F}">
  <ds:schemaRefs>
    <ds:schemaRef ds:uri="Strauss.PersonalizationDefinition"/>
  </ds:schemaRefs>
</ds:datastoreItem>
</file>

<file path=customXml/itemProps12.xml><?xml version="1.0" encoding="utf-8"?>
<ds:datastoreItem xmlns:ds="http://schemas.openxmlformats.org/officeDocument/2006/customXml" ds:itemID="{EF4AA5EB-A638-4D3A-B852-E71E18ED4953}">
  <ds:schemaRefs>
    <ds:schemaRef ds:uri="Strauss.PersonalizationDefinition"/>
  </ds:schemaRefs>
</ds:datastoreItem>
</file>

<file path=customXml/itemProps13.xml><?xml version="1.0" encoding="utf-8"?>
<ds:datastoreItem xmlns:ds="http://schemas.openxmlformats.org/officeDocument/2006/customXml" ds:itemID="{734F6CED-B619-41E0-BEDE-58B64D5F5EB2}">
  <ds:schemaRefs>
    <ds:schemaRef ds:uri="Strauss.PersonalizationDefinition"/>
  </ds:schemaRefs>
</ds:datastoreItem>
</file>

<file path=customXml/itemProps14.xml><?xml version="1.0" encoding="utf-8"?>
<ds:datastoreItem xmlns:ds="http://schemas.openxmlformats.org/officeDocument/2006/customXml" ds:itemID="{AC7687D8-5695-4F99-A8BA-1D247B418C22}">
  <ds:schemaRefs>
    <ds:schemaRef ds:uri="http://schemas.microsoft.com/office/2006/metadata/properties"/>
    <ds:schemaRef ds:uri="http://schemas.microsoft.com/office/infopath/2007/PartnerControls"/>
    <ds:schemaRef ds:uri="http://schemas.microsoft.com/sharepoint/v3"/>
    <ds:schemaRef ds:uri="a239a976-d8ff-4180-838f-1921746079e6"/>
    <ds:schemaRef ds:uri="230e9df3-be65-4c73-a93b-d1236ebd677e"/>
    <ds:schemaRef ds:uri="6e5df741-9488-4b64-81e9-4a4a23490933"/>
    <ds:schemaRef ds:uri="13ed5b9d-4ee2-45de-9ef9-3f42f8acbc62"/>
  </ds:schemaRefs>
</ds:datastoreItem>
</file>

<file path=customXml/itemProps15.xml><?xml version="1.0" encoding="utf-8"?>
<ds:datastoreItem xmlns:ds="http://schemas.openxmlformats.org/officeDocument/2006/customXml" ds:itemID="{4EA01338-72BB-48B6-B6A4-05B31FE21105}">
  <ds:schemaRefs>
    <ds:schemaRef ds:uri="Strauss.PersonalizationDefinition"/>
  </ds:schemaRefs>
</ds:datastoreItem>
</file>

<file path=customXml/itemProps16.xml><?xml version="1.0" encoding="utf-8"?>
<ds:datastoreItem xmlns:ds="http://schemas.openxmlformats.org/officeDocument/2006/customXml" ds:itemID="{FBC13881-F2DC-4AA3-88C8-97C40CA1EBC7}">
  <ds:schemaRefs>
    <ds:schemaRef ds:uri="Strauss.PersonalizationDefinition"/>
  </ds:schemaRefs>
</ds:datastoreItem>
</file>

<file path=customXml/itemProps17.xml><?xml version="1.0" encoding="utf-8"?>
<ds:datastoreItem xmlns:ds="http://schemas.openxmlformats.org/officeDocument/2006/customXml" ds:itemID="{7BE5F28F-50CA-40F1-A02E-E794FE33362D}">
  <ds:schemaRefs>
    <ds:schemaRef ds:uri="Strauss.PersonalizationDefinition"/>
  </ds:schemaRefs>
</ds:datastoreItem>
</file>

<file path=customXml/itemProps18.xml><?xml version="1.0" encoding="utf-8"?>
<ds:datastoreItem xmlns:ds="http://schemas.openxmlformats.org/officeDocument/2006/customXml" ds:itemID="{628127A0-F2C3-45C3-BB9F-5B29A6B848BE}">
  <ds:schemaRefs>
    <ds:schemaRef ds:uri="Strauss.PersonalizationDefinition"/>
  </ds:schemaRefs>
</ds:datastoreItem>
</file>

<file path=customXml/itemProps19.xml><?xml version="1.0" encoding="utf-8"?>
<ds:datastoreItem xmlns:ds="http://schemas.openxmlformats.org/officeDocument/2006/customXml" ds:itemID="{2BCFCE7B-4A43-491B-887D-365E2A1C50B2}">
  <ds:schemaRefs>
    <ds:schemaRef ds:uri="Strauss.PersonalizationDefinition"/>
  </ds:schemaRefs>
</ds:datastoreItem>
</file>

<file path=customXml/itemProps2.xml><?xml version="1.0" encoding="utf-8"?>
<ds:datastoreItem xmlns:ds="http://schemas.openxmlformats.org/officeDocument/2006/customXml" ds:itemID="{32920470-F086-4197-B6FE-12027DE25DCC}">
  <ds:schemaRefs>
    <ds:schemaRef ds:uri="Strauss.PersonalizationDefinition"/>
  </ds:schemaRefs>
</ds:datastoreItem>
</file>

<file path=customXml/itemProps20.xml><?xml version="1.0" encoding="utf-8"?>
<ds:datastoreItem xmlns:ds="http://schemas.openxmlformats.org/officeDocument/2006/customXml" ds:itemID="{13A5538B-5199-4900-941A-B01E377F2065}">
  <ds:schemaRefs>
    <ds:schemaRef ds:uri="Strauss.PersonalizationDefinition"/>
  </ds:schemaRefs>
</ds:datastoreItem>
</file>

<file path=customXml/itemProps21.xml><?xml version="1.0" encoding="utf-8"?>
<ds:datastoreItem xmlns:ds="http://schemas.openxmlformats.org/officeDocument/2006/customXml" ds:itemID="{FC25CD5D-A9DA-407F-9106-47BDA14BCED9}">
  <ds:schemaRefs>
    <ds:schemaRef ds:uri="Strauss.PersonalizationDefinition"/>
  </ds:schemaRefs>
</ds:datastoreItem>
</file>

<file path=customXml/itemProps22.xml><?xml version="1.0" encoding="utf-8"?>
<ds:datastoreItem xmlns:ds="http://schemas.openxmlformats.org/officeDocument/2006/customXml" ds:itemID="{E7EBEF02-C69B-46E0-B38A-E51611CE5254}">
  <ds:schemaRefs>
    <ds:schemaRef ds:uri="Strauss.PersonalizationDefinition"/>
  </ds:schemaRefs>
</ds:datastoreItem>
</file>

<file path=customXml/itemProps23.xml><?xml version="1.0" encoding="utf-8"?>
<ds:datastoreItem xmlns:ds="http://schemas.openxmlformats.org/officeDocument/2006/customXml" ds:itemID="{5B386885-5970-4C9A-961C-E1996DA0D640}"/>
</file>

<file path=customXml/itemProps24.xml><?xml version="1.0" encoding="utf-8"?>
<ds:datastoreItem xmlns:ds="http://schemas.openxmlformats.org/officeDocument/2006/customXml" ds:itemID="{D7FDC28F-4CBD-40ED-9D33-0A1360D5DEC4}">
  <ds:schemaRefs>
    <ds:schemaRef ds:uri="Strauss.PersonalizationDefinition"/>
  </ds:schemaRefs>
</ds:datastoreItem>
</file>

<file path=customXml/itemProps25.xml><?xml version="1.0" encoding="utf-8"?>
<ds:datastoreItem xmlns:ds="http://schemas.openxmlformats.org/officeDocument/2006/customXml" ds:itemID="{BC268A45-186B-46A3-937F-0E016CEA70C1}">
  <ds:schemaRefs>
    <ds:schemaRef ds:uri="Strauss.PersonalizationDefinition"/>
  </ds:schemaRefs>
</ds:datastoreItem>
</file>

<file path=customXml/itemProps26.xml><?xml version="1.0" encoding="utf-8"?>
<ds:datastoreItem xmlns:ds="http://schemas.openxmlformats.org/officeDocument/2006/customXml" ds:itemID="{712108F3-86F2-4B95-AF2D-FE4E45965FCC}">
  <ds:schemaRefs>
    <ds:schemaRef ds:uri="Strauss.PersonalizationDefinition"/>
  </ds:schemaRefs>
</ds:datastoreItem>
</file>

<file path=customXml/itemProps27.xml><?xml version="1.0" encoding="utf-8"?>
<ds:datastoreItem xmlns:ds="http://schemas.openxmlformats.org/officeDocument/2006/customXml" ds:itemID="{ECCE7DC3-F525-4E76-8812-56FCA2D21E50}">
  <ds:schemaRefs>
    <ds:schemaRef ds:uri="Strauss.PersonalizationDefinition"/>
  </ds:schemaRefs>
</ds:datastoreItem>
</file>

<file path=customXml/itemProps28.xml><?xml version="1.0" encoding="utf-8"?>
<ds:datastoreItem xmlns:ds="http://schemas.openxmlformats.org/officeDocument/2006/customXml" ds:itemID="{C1060A51-5976-4775-97EE-ABE1B1E4972A}">
  <ds:schemaRefs>
    <ds:schemaRef ds:uri="Strauss.PersonalizationDefinition"/>
  </ds:schemaRefs>
</ds:datastoreItem>
</file>

<file path=customXml/itemProps29.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xml><?xml version="1.0" encoding="utf-8"?>
<ds:datastoreItem xmlns:ds="http://schemas.openxmlformats.org/officeDocument/2006/customXml" ds:itemID="{B228D3F7-8445-4CE7-92DC-AC7FE2D5A2AF}">
  <ds:schemaRefs>
    <ds:schemaRef ds:uri="Strauss.PersonalizationDefinition"/>
  </ds:schemaRefs>
</ds:datastoreItem>
</file>

<file path=customXml/itemProps30.xml><?xml version="1.0" encoding="utf-8"?>
<ds:datastoreItem xmlns:ds="http://schemas.openxmlformats.org/officeDocument/2006/customXml" ds:itemID="{103AB8E4-C30A-4895-9606-8D77F2E70F19}">
  <ds:schemaRefs>
    <ds:schemaRef ds:uri="Strauss.PersonalizationDefinition"/>
  </ds:schemaRefs>
</ds:datastoreItem>
</file>

<file path=customXml/itemProps31.xml><?xml version="1.0" encoding="utf-8"?>
<ds:datastoreItem xmlns:ds="http://schemas.openxmlformats.org/officeDocument/2006/customXml" ds:itemID="{6F485757-9F3C-4A1E-9E86-E1C1551910BA}">
  <ds:schemaRefs>
    <ds:schemaRef ds:uri="Strauss.PersonalizationDefinition"/>
  </ds:schemaRefs>
</ds:datastoreItem>
</file>

<file path=customXml/itemProps32.xml><?xml version="1.0" encoding="utf-8"?>
<ds:datastoreItem xmlns:ds="http://schemas.openxmlformats.org/officeDocument/2006/customXml" ds:itemID="{F56EB5D8-3CD5-48EE-9536-13CF2B9AC25D}">
  <ds:schemaRefs>
    <ds:schemaRef ds:uri="Strauss.PersonalizationDefinition"/>
  </ds:schemaRefs>
</ds:datastoreItem>
</file>

<file path=customXml/itemProps33.xml><?xml version="1.0" encoding="utf-8"?>
<ds:datastoreItem xmlns:ds="http://schemas.openxmlformats.org/officeDocument/2006/customXml" ds:itemID="{541D4602-AC17-4CBD-B95E-D5B3D757BC54}">
  <ds:schemaRefs>
    <ds:schemaRef ds:uri="Strauss.PersonalizationDefinition"/>
  </ds:schemaRefs>
</ds:datastoreItem>
</file>

<file path=customXml/itemProps34.xml><?xml version="1.0" encoding="utf-8"?>
<ds:datastoreItem xmlns:ds="http://schemas.openxmlformats.org/officeDocument/2006/customXml" ds:itemID="{D55AC15F-0A03-4D96-AA43-65FC3DCE2717}">
  <ds:schemaRefs>
    <ds:schemaRef ds:uri="Strauss.PersonalizationDefinition"/>
  </ds:schemaRefs>
</ds:datastoreItem>
</file>

<file path=customXml/itemProps35.xml><?xml version="1.0" encoding="utf-8"?>
<ds:datastoreItem xmlns:ds="http://schemas.openxmlformats.org/officeDocument/2006/customXml" ds:itemID="{08068EAD-DA6C-4DC8-843E-9CB0982D15F3}">
  <ds:schemaRefs>
    <ds:schemaRef ds:uri="Strauss.PersonalizationDefinition"/>
  </ds:schemaRefs>
</ds:datastoreItem>
</file>

<file path=customXml/itemProps36.xml><?xml version="1.0" encoding="utf-8"?>
<ds:datastoreItem xmlns:ds="http://schemas.openxmlformats.org/officeDocument/2006/customXml" ds:itemID="{4C485A9E-99A8-4277-BE90-E837A967DB2E}">
  <ds:schemaRefs>
    <ds:schemaRef ds:uri="Strauss.PersonalizationDefinition"/>
  </ds:schemaRefs>
</ds:datastoreItem>
</file>

<file path=customXml/itemProps37.xml><?xml version="1.0" encoding="utf-8"?>
<ds:datastoreItem xmlns:ds="http://schemas.openxmlformats.org/officeDocument/2006/customXml" ds:itemID="{DF333A1B-0A9C-4DA8-ADAB-4378B69FDC48}">
  <ds:schemaRefs>
    <ds:schemaRef ds:uri="Strauss.PersonalizationDefinition"/>
  </ds:schemaRefs>
</ds:datastoreItem>
</file>

<file path=customXml/itemProps38.xml><?xml version="1.0" encoding="utf-8"?>
<ds:datastoreItem xmlns:ds="http://schemas.openxmlformats.org/officeDocument/2006/customXml" ds:itemID="{A09B3D8F-A36C-4B6D-871D-C53F61DFD219}">
  <ds:schemaRefs>
    <ds:schemaRef ds:uri="Strauss.PersonalizationDefinition"/>
  </ds:schemaRefs>
</ds:datastoreItem>
</file>

<file path=customXml/itemProps39.xml><?xml version="1.0" encoding="utf-8"?>
<ds:datastoreItem xmlns:ds="http://schemas.openxmlformats.org/officeDocument/2006/customXml" ds:itemID="{92C27BF9-6042-4A64-97C5-4D309EE5CA70}">
  <ds:schemaRefs>
    <ds:schemaRef ds:uri="Strauss.PersonalizationDefinition"/>
  </ds:schemaRefs>
</ds:datastoreItem>
</file>

<file path=customXml/itemProps4.xml><?xml version="1.0" encoding="utf-8"?>
<ds:datastoreItem xmlns:ds="http://schemas.openxmlformats.org/officeDocument/2006/customXml" ds:itemID="{4A3F169F-E27D-4A25-888C-4C5D83BAC082}">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5D1628-D09F-42C9-B121-52530D5BAC57}">
  <ds:schemaRefs>
    <ds:schemaRef ds:uri="Strauss.PersonalizationDefinition"/>
  </ds:schemaRefs>
</ds:datastoreItem>
</file>

<file path=customXml/itemProps42.xml><?xml version="1.0" encoding="utf-8"?>
<ds:datastoreItem xmlns:ds="http://schemas.openxmlformats.org/officeDocument/2006/customXml" ds:itemID="{40AEE452-6429-4729-90E5-AD53BF848736}">
  <ds:schemaRefs>
    <ds:schemaRef ds:uri="Strauss.PersonalizationDefinition"/>
  </ds:schemaRefs>
</ds:datastoreItem>
</file>

<file path=customXml/itemProps43.xml><?xml version="1.0" encoding="utf-8"?>
<ds:datastoreItem xmlns:ds="http://schemas.openxmlformats.org/officeDocument/2006/customXml" ds:itemID="{1C7D2CA3-8D80-4236-8018-5381792531A0}">
  <ds:schemaRefs>
    <ds:schemaRef ds:uri="Strauss.PersonalizationDefinition"/>
  </ds:schemaRefs>
</ds:datastoreItem>
</file>

<file path=customXml/itemProps44.xml><?xml version="1.0" encoding="utf-8"?>
<ds:datastoreItem xmlns:ds="http://schemas.openxmlformats.org/officeDocument/2006/customXml" ds:itemID="{A4D4A511-81C6-4721-AB32-4B24CFA7F0B8}">
  <ds:schemaRefs>
    <ds:schemaRef ds:uri="Strauss.PersonalizationDefinition"/>
  </ds:schemaRefs>
</ds:datastoreItem>
</file>

<file path=customXml/itemProps45.xml><?xml version="1.0" encoding="utf-8"?>
<ds:datastoreItem xmlns:ds="http://schemas.openxmlformats.org/officeDocument/2006/customXml" ds:itemID="{0011CC61-08F9-4202-B523-B99A9E070DED}">
  <ds:schemaRefs>
    <ds:schemaRef ds:uri="Strauss.PersonalizationDefinition"/>
  </ds:schemaRefs>
</ds:datastoreItem>
</file>

<file path=customXml/itemProps46.xml><?xml version="1.0" encoding="utf-8"?>
<ds:datastoreItem xmlns:ds="http://schemas.openxmlformats.org/officeDocument/2006/customXml" ds:itemID="{C7AF78C0-A734-41A5-BB34-5CFAD52642CE}">
  <ds:schemaRefs>
    <ds:schemaRef ds:uri="Strauss.PersonalizationDefinition"/>
  </ds:schemaRefs>
</ds:datastoreItem>
</file>

<file path=customXml/itemProps5.xml><?xml version="1.0" encoding="utf-8"?>
<ds:datastoreItem xmlns:ds="http://schemas.openxmlformats.org/officeDocument/2006/customXml" ds:itemID="{406127A5-B8F7-4F8A-95A9-8E20F72EA129}">
  <ds:schemaRefs>
    <ds:schemaRef ds:uri="Strauss.PersonalizationDefinition"/>
  </ds:schemaRefs>
</ds:datastoreItem>
</file>

<file path=customXml/itemProps6.xml><?xml version="1.0" encoding="utf-8"?>
<ds:datastoreItem xmlns:ds="http://schemas.openxmlformats.org/officeDocument/2006/customXml" ds:itemID="{DE0DC7DC-A960-4E6E-BF1B-D3D906B081A2}">
  <ds:schemaRefs>
    <ds:schemaRef ds:uri="Strauss.PersonalizationDefinition"/>
  </ds:schemaRefs>
</ds:datastoreItem>
</file>

<file path=customXml/itemProps7.xml><?xml version="1.0" encoding="utf-8"?>
<ds:datastoreItem xmlns:ds="http://schemas.openxmlformats.org/officeDocument/2006/customXml" ds:itemID="{68BE9F8F-073F-46B7-B2D0-86DC8E2E9DCE}">
  <ds:schemaRefs>
    <ds:schemaRef ds:uri="Strauss.PersonalizationDefinition"/>
  </ds:schemaRefs>
</ds:datastoreItem>
</file>

<file path=customXml/itemProps8.xml><?xml version="1.0" encoding="utf-8"?>
<ds:datastoreItem xmlns:ds="http://schemas.openxmlformats.org/officeDocument/2006/customXml" ds:itemID="{5C919DC8-E31E-42F0-9621-B916C2E029BA}">
  <ds:schemaRefs>
    <ds:schemaRef ds:uri="Strauss.PersonalizationDefinition"/>
  </ds:schemaRefs>
</ds:datastoreItem>
</file>

<file path=customXml/itemProps9.xml><?xml version="1.0" encoding="utf-8"?>
<ds:datastoreItem xmlns:ds="http://schemas.openxmlformats.org/officeDocument/2006/customXml" ds:itemID="{EDFBA6C8-3A38-44F0-B645-B6B0034983DA}">
  <ds:schemaRefs>
    <ds:schemaRef ds:uri="Strauss.PersonalizationDefinition"/>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187</TotalTime>
  <Words>4690</Words>
  <Application>Microsoft Office PowerPoint</Application>
  <PresentationFormat>Widescreen</PresentationFormat>
  <Paragraphs>622</Paragraphs>
  <Slides>52</Slides>
  <Notes>52</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2</vt:i4>
      </vt:variant>
    </vt:vector>
  </HeadingPairs>
  <TitlesOfParts>
    <vt:vector size="64" baseType="lpstr">
      <vt:lpstr>&amp;quot</vt:lpstr>
      <vt:lpstr>Arial</vt:lpstr>
      <vt:lpstr>Calibri</vt:lpstr>
      <vt:lpstr>Calibri Light</vt:lpstr>
      <vt:lpstr>Comic Sans MS</vt:lpstr>
      <vt:lpstr>Consolas</vt:lpstr>
      <vt:lpstr>Segoe Semibold</vt:lpstr>
      <vt:lpstr>Segoe UI</vt:lpstr>
      <vt:lpstr>Segoe UI Light</vt:lpstr>
      <vt:lpstr>Segoe UI Semibold</vt:lpstr>
      <vt:lpstr>Wingdings</vt:lpstr>
      <vt:lpstr>Dark Blue</vt:lpstr>
      <vt:lpstr>WorkshopPLUS   Power Platform for Administrators</vt:lpstr>
      <vt:lpstr>Conditions and terms of use</vt:lpstr>
      <vt:lpstr>Objectives  </vt:lpstr>
      <vt:lpstr>Understand Power Platform ALM</vt:lpstr>
      <vt:lpstr>What is ALM?</vt:lpstr>
      <vt:lpstr>Key areas of ALM</vt:lpstr>
      <vt:lpstr>Cyclical development process</vt:lpstr>
      <vt:lpstr>ALM for Power Platform</vt:lpstr>
      <vt:lpstr>Types of environments used in ALM</vt:lpstr>
      <vt:lpstr>Who should have access?</vt:lpstr>
      <vt:lpstr>Deploy Resources using a Package</vt:lpstr>
      <vt:lpstr>Power Platform Packages</vt:lpstr>
      <vt:lpstr>Which resources can be deployed using a package</vt:lpstr>
      <vt:lpstr>Package Export</vt:lpstr>
      <vt:lpstr>Package Export</vt:lpstr>
      <vt:lpstr>Package Export</vt:lpstr>
      <vt:lpstr>Package Import</vt:lpstr>
      <vt:lpstr>Package Import</vt:lpstr>
      <vt:lpstr>Package Import</vt:lpstr>
      <vt:lpstr>Package Import</vt:lpstr>
      <vt:lpstr>Package Import</vt:lpstr>
      <vt:lpstr>Deploy Resources using a Solution</vt:lpstr>
      <vt:lpstr>Solutions Concept</vt:lpstr>
      <vt:lpstr>Two types of Solutions</vt:lpstr>
      <vt:lpstr>Solution Lifecycle</vt:lpstr>
      <vt:lpstr>Solution Publisher</vt:lpstr>
      <vt:lpstr>Solution Dependencies</vt:lpstr>
      <vt:lpstr>Demonstration </vt:lpstr>
      <vt:lpstr>Power Platform CLI</vt:lpstr>
      <vt:lpstr>Power Platform CLI – Common Commands</vt:lpstr>
      <vt:lpstr>Demonstration </vt:lpstr>
      <vt:lpstr>Power Platform Pipelines </vt:lpstr>
      <vt:lpstr>What are Pipelines in Power Platform</vt:lpstr>
      <vt:lpstr>Pipelines simplify ALM for ALL makers</vt:lpstr>
      <vt:lpstr>Licensing Required to Use Pipelines?</vt:lpstr>
      <vt:lpstr>Set up pipelines in Power Platform</vt:lpstr>
      <vt:lpstr>Run Pipeline</vt:lpstr>
      <vt:lpstr>Power Platform Build Tools for Azure DevOps</vt:lpstr>
      <vt:lpstr>Power Platform Build Tools for Azure DevOps</vt:lpstr>
      <vt:lpstr>Get Power Platform Build Tools</vt:lpstr>
      <vt:lpstr>Connection to Power Platform environments</vt:lpstr>
      <vt:lpstr>Azure Pipelines</vt:lpstr>
      <vt:lpstr>Azure Repos</vt:lpstr>
      <vt:lpstr>Power Platform + GitHub</vt:lpstr>
      <vt:lpstr>GitHub Actions</vt:lpstr>
      <vt:lpstr>Power Platform + GitHub Actions</vt:lpstr>
      <vt:lpstr>Components of GitHub Actions</vt:lpstr>
      <vt:lpstr>Components of GitHub Actions</vt:lpstr>
      <vt:lpstr>Connection to Power Platform environments</vt:lpstr>
      <vt:lpstr>Questions?</vt:lpstr>
      <vt:lpstr>Lab 1, 2 and 3</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Moris Montejo</cp:lastModifiedBy>
  <cp:revision>262</cp:revision>
  <dcterms:created xsi:type="dcterms:W3CDTF">2019-02-08T20:09:46Z</dcterms:created>
  <dcterms:modified xsi:type="dcterms:W3CDTF">2023-05-05T04:4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Order">
    <vt:r8>11000</vt:r8>
  </property>
  <property fmtid="{D5CDD505-2E9C-101B-9397-08002B2CF9AE}" pid="15" name="xd_Signature">
    <vt:bool>false</vt:bool>
  </property>
  <property fmtid="{D5CDD505-2E9C-101B-9397-08002B2CF9AE}" pid="16" name="xd_ProgID">
    <vt:lpwstr/>
  </property>
  <property fmtid="{D5CDD505-2E9C-101B-9397-08002B2CF9AE}" pid="17" name="_SourceUrl">
    <vt:lpwstr/>
  </property>
  <property fmtid="{D5CDD505-2E9C-101B-9397-08002B2CF9AE}" pid="18" name="_SharedFileIndex">
    <vt:lpwstr/>
  </property>
  <property fmtid="{D5CDD505-2E9C-101B-9397-08002B2CF9AE}" pid="19" name="TemplateUrl">
    <vt:lpwstr/>
  </property>
  <property fmtid="{D5CDD505-2E9C-101B-9397-08002B2CF9AE}" pid="20" name="ComplianceAssetId">
    <vt:lpwstr/>
  </property>
  <property fmtid="{D5CDD505-2E9C-101B-9397-08002B2CF9AE}" pid="21" name="_ExtendedDescription">
    <vt:lpwstr/>
  </property>
  <property fmtid="{D5CDD505-2E9C-101B-9397-08002B2CF9AE}" pid="22" name="TriggerFlowInfo">
    <vt:lpwstr/>
  </property>
</Properties>
</file>